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8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9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0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1.xml" ContentType="application/vnd.openxmlformats-officedocument.drawingml.chartshape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2.xml" ContentType="application/vnd.openxmlformats-officedocument.drawingml.chartshape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1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2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notesSlides/notesSlide14.xml" ContentType="application/vnd.openxmlformats-officedocument.presentationml.notesSlid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1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5" r:id="rId2"/>
    <p:sldMasterId id="2147483682" r:id="rId3"/>
    <p:sldMasterId id="2147483705" r:id="rId4"/>
    <p:sldMasterId id="2147483718" r:id="rId5"/>
    <p:sldMasterId id="2147483739" r:id="rId6"/>
    <p:sldMasterId id="2147483745" r:id="rId7"/>
    <p:sldMasterId id="2147483753" r:id="rId8"/>
    <p:sldMasterId id="2147483761" r:id="rId9"/>
    <p:sldMasterId id="2147483771" r:id="rId10"/>
    <p:sldMasterId id="2147483782" r:id="rId11"/>
  </p:sldMasterIdLst>
  <p:notesMasterIdLst>
    <p:notesMasterId r:id="rId52"/>
  </p:notesMasterIdLst>
  <p:sldIdLst>
    <p:sldId id="1402" r:id="rId12"/>
    <p:sldId id="1418" r:id="rId13"/>
    <p:sldId id="1403" r:id="rId14"/>
    <p:sldId id="1421" r:id="rId15"/>
    <p:sldId id="1410" r:id="rId16"/>
    <p:sldId id="1411" r:id="rId17"/>
    <p:sldId id="1463" r:id="rId18"/>
    <p:sldId id="1426" r:id="rId19"/>
    <p:sldId id="1464" r:id="rId20"/>
    <p:sldId id="1465" r:id="rId21"/>
    <p:sldId id="1466" r:id="rId22"/>
    <p:sldId id="1406" r:id="rId23"/>
    <p:sldId id="1415" r:id="rId24"/>
    <p:sldId id="1416" r:id="rId25"/>
    <p:sldId id="1417" r:id="rId26"/>
    <p:sldId id="1431" r:id="rId27"/>
    <p:sldId id="1433" r:id="rId28"/>
    <p:sldId id="1434" r:id="rId29"/>
    <p:sldId id="1437" r:id="rId30"/>
    <p:sldId id="1488" r:id="rId31"/>
    <p:sldId id="1475" r:id="rId32"/>
    <p:sldId id="1480" r:id="rId33"/>
    <p:sldId id="1481" r:id="rId34"/>
    <p:sldId id="1482" r:id="rId35"/>
    <p:sldId id="1484" r:id="rId36"/>
    <p:sldId id="1486" r:id="rId37"/>
    <p:sldId id="1487" r:id="rId38"/>
    <p:sldId id="1474" r:id="rId39"/>
    <p:sldId id="1440" r:id="rId40"/>
    <p:sldId id="1485" r:id="rId41"/>
    <p:sldId id="1476" r:id="rId42"/>
    <p:sldId id="1477" r:id="rId43"/>
    <p:sldId id="1478" r:id="rId44"/>
    <p:sldId id="1444" r:id="rId45"/>
    <p:sldId id="1445" r:id="rId46"/>
    <p:sldId id="1470" r:id="rId47"/>
    <p:sldId id="1471" r:id="rId48"/>
    <p:sldId id="1472" r:id="rId49"/>
    <p:sldId id="1473" r:id="rId50"/>
    <p:sldId id="1479" r:id="rId51"/>
  </p:sldIdLst>
  <p:sldSz cx="12192000" cy="6858000"/>
  <p:notesSz cx="6858000" cy="9144000"/>
  <p:custDataLst>
    <p:tags r:id="rId5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05983"/>
    <a:srgbClr val="E0D764"/>
    <a:srgbClr val="FF5050"/>
    <a:srgbClr val="00FF00"/>
    <a:srgbClr val="00CD61"/>
    <a:srgbClr val="FA9106"/>
    <a:srgbClr val="E6E6E6"/>
    <a:srgbClr val="BFBFBF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5501" autoAdjust="0"/>
  </p:normalViewPr>
  <p:slideViewPr>
    <p:cSldViewPr snapToGrid="0">
      <p:cViewPr varScale="1">
        <p:scale>
          <a:sx n="70" d="100"/>
          <a:sy n="70" d="100"/>
        </p:scale>
        <p:origin x="576" y="5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8830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40</c:v>
                </c:pt>
                <c:pt idx="1">
                  <c:v>44241</c:v>
                </c:pt>
                <c:pt idx="2">
                  <c:v>44242</c:v>
                </c:pt>
                <c:pt idx="3">
                  <c:v>44243</c:v>
                </c:pt>
                <c:pt idx="4">
                  <c:v>44244</c:v>
                </c:pt>
                <c:pt idx="5">
                  <c:v>44245</c:v>
                </c:pt>
                <c:pt idx="6">
                  <c:v>44246</c:v>
                </c:pt>
                <c:pt idx="7">
                  <c:v>44247</c:v>
                </c:pt>
                <c:pt idx="8">
                  <c:v>44248</c:v>
                </c:pt>
                <c:pt idx="9">
                  <c:v>44249</c:v>
                </c:pt>
                <c:pt idx="10">
                  <c:v>44250</c:v>
                </c:pt>
                <c:pt idx="11">
                  <c:v>44251</c:v>
                </c:pt>
                <c:pt idx="12">
                  <c:v>44252</c:v>
                </c:pt>
                <c:pt idx="13">
                  <c:v>44253</c:v>
                </c:pt>
                <c:pt idx="14">
                  <c:v>44254</c:v>
                </c:pt>
                <c:pt idx="15">
                  <c:v>44255</c:v>
                </c:pt>
                <c:pt idx="16">
                  <c:v>44256</c:v>
                </c:pt>
                <c:pt idx="17">
                  <c:v>44257</c:v>
                </c:pt>
                <c:pt idx="18">
                  <c:v>44258</c:v>
                </c:pt>
                <c:pt idx="19">
                  <c:v>44259</c:v>
                </c:pt>
                <c:pt idx="20">
                  <c:v>44260</c:v>
                </c:pt>
                <c:pt idx="21">
                  <c:v>44261</c:v>
                </c:pt>
                <c:pt idx="22">
                  <c:v>44262</c:v>
                </c:pt>
                <c:pt idx="23">
                  <c:v>44263</c:v>
                </c:pt>
                <c:pt idx="24">
                  <c:v>44264</c:v>
                </c:pt>
                <c:pt idx="25">
                  <c:v>44265</c:v>
                </c:pt>
                <c:pt idx="26">
                  <c:v>44266</c:v>
                </c:pt>
                <c:pt idx="27">
                  <c:v>44267</c:v>
                </c:pt>
                <c:pt idx="28">
                  <c:v>44268</c:v>
                </c:pt>
                <c:pt idx="29">
                  <c:v>44269</c:v>
                </c:pt>
                <c:pt idx="30">
                  <c:v>44270</c:v>
                </c:pt>
                <c:pt idx="31">
                  <c:v>44271</c:v>
                </c:pt>
                <c:pt idx="32">
                  <c:v>44272</c:v>
                </c:pt>
                <c:pt idx="33">
                  <c:v>44273</c:v>
                </c:pt>
                <c:pt idx="34">
                  <c:v>44274</c:v>
                </c:pt>
                <c:pt idx="35">
                  <c:v>44275</c:v>
                </c:pt>
                <c:pt idx="36">
                  <c:v>44276</c:v>
                </c:pt>
                <c:pt idx="37">
                  <c:v>44277</c:v>
                </c:pt>
                <c:pt idx="38">
                  <c:v>44278</c:v>
                </c:pt>
                <c:pt idx="39">
                  <c:v>44279</c:v>
                </c:pt>
                <c:pt idx="40">
                  <c:v>44280</c:v>
                </c:pt>
                <c:pt idx="41">
                  <c:v>44281</c:v>
                </c:pt>
                <c:pt idx="42">
                  <c:v>44282</c:v>
                </c:pt>
                <c:pt idx="43">
                  <c:v>44283</c:v>
                </c:pt>
                <c:pt idx="44">
                  <c:v>44284</c:v>
                </c:pt>
                <c:pt idx="45">
                  <c:v>44285</c:v>
                </c:pt>
                <c:pt idx="46">
                  <c:v>44286</c:v>
                </c:pt>
                <c:pt idx="47">
                  <c:v>44287</c:v>
                </c:pt>
                <c:pt idx="48">
                  <c:v>44288</c:v>
                </c:pt>
                <c:pt idx="49">
                  <c:v>44289</c:v>
                </c:pt>
                <c:pt idx="50">
                  <c:v>44290</c:v>
                </c:pt>
                <c:pt idx="51">
                  <c:v>44291</c:v>
                </c:pt>
                <c:pt idx="52">
                  <c:v>44292</c:v>
                </c:pt>
                <c:pt idx="53">
                  <c:v>44293</c:v>
                </c:pt>
                <c:pt idx="54">
                  <c:v>44294</c:v>
                </c:pt>
                <c:pt idx="55">
                  <c:v>44295</c:v>
                </c:pt>
                <c:pt idx="56">
                  <c:v>44296</c:v>
                </c:pt>
                <c:pt idx="57">
                  <c:v>44297</c:v>
                </c:pt>
                <c:pt idx="58">
                  <c:v>44298</c:v>
                </c:pt>
                <c:pt idx="59">
                  <c:v>44299</c:v>
                </c:pt>
                <c:pt idx="60">
                  <c:v>44300</c:v>
                </c:pt>
                <c:pt idx="61">
                  <c:v>44301</c:v>
                </c:pt>
                <c:pt idx="62">
                  <c:v>44302</c:v>
                </c:pt>
                <c:pt idx="63">
                  <c:v>44303</c:v>
                </c:pt>
                <c:pt idx="64">
                  <c:v>44304</c:v>
                </c:pt>
                <c:pt idx="65">
                  <c:v>44305</c:v>
                </c:pt>
                <c:pt idx="66">
                  <c:v>44306</c:v>
                </c:pt>
                <c:pt idx="67">
                  <c:v>44307</c:v>
                </c:pt>
                <c:pt idx="68">
                  <c:v>44308</c:v>
                </c:pt>
                <c:pt idx="69">
                  <c:v>44309</c:v>
                </c:pt>
                <c:pt idx="70">
                  <c:v>44310</c:v>
                </c:pt>
                <c:pt idx="71">
                  <c:v>44311</c:v>
                </c:pt>
                <c:pt idx="72">
                  <c:v>44312</c:v>
                </c:pt>
                <c:pt idx="73">
                  <c:v>44313</c:v>
                </c:pt>
                <c:pt idx="74">
                  <c:v>44314</c:v>
                </c:pt>
                <c:pt idx="75">
                  <c:v>44315</c:v>
                </c:pt>
                <c:pt idx="76">
                  <c:v>44316</c:v>
                </c:pt>
                <c:pt idx="77">
                  <c:v>44317</c:v>
                </c:pt>
                <c:pt idx="78">
                  <c:v>44318</c:v>
                </c:pt>
                <c:pt idx="79">
                  <c:v>44319</c:v>
                </c:pt>
                <c:pt idx="80">
                  <c:v>44320</c:v>
                </c:pt>
                <c:pt idx="81">
                  <c:v>44321</c:v>
                </c:pt>
                <c:pt idx="82">
                  <c:v>44322</c:v>
                </c:pt>
                <c:pt idx="83">
                  <c:v>44323</c:v>
                </c:pt>
                <c:pt idx="84">
                  <c:v>44324</c:v>
                </c:pt>
                <c:pt idx="85">
                  <c:v>44325</c:v>
                </c:pt>
                <c:pt idx="86">
                  <c:v>44326</c:v>
                </c:pt>
                <c:pt idx="87">
                  <c:v>44327</c:v>
                </c:pt>
                <c:pt idx="88">
                  <c:v>44328</c:v>
                </c:pt>
                <c:pt idx="89">
                  <c:v>44329</c:v>
                </c:pt>
                <c:pt idx="90">
                  <c:v>44330</c:v>
                </c:pt>
                <c:pt idx="91">
                  <c:v>44331</c:v>
                </c:pt>
                <c:pt idx="92">
                  <c:v>44332</c:v>
                </c:pt>
                <c:pt idx="93">
                  <c:v>44333</c:v>
                </c:pt>
                <c:pt idx="94">
                  <c:v>44334</c:v>
                </c:pt>
                <c:pt idx="95">
                  <c:v>44335</c:v>
                </c:pt>
                <c:pt idx="96">
                  <c:v>44336</c:v>
                </c:pt>
                <c:pt idx="97">
                  <c:v>44337</c:v>
                </c:pt>
                <c:pt idx="98">
                  <c:v>44338</c:v>
                </c:pt>
                <c:pt idx="99">
                  <c:v>44339</c:v>
                </c:pt>
                <c:pt idx="100">
                  <c:v>44340</c:v>
                </c:pt>
                <c:pt idx="101">
                  <c:v>44341</c:v>
                </c:pt>
                <c:pt idx="102">
                  <c:v>44342</c:v>
                </c:pt>
                <c:pt idx="103">
                  <c:v>44343</c:v>
                </c:pt>
                <c:pt idx="104">
                  <c:v>44344</c:v>
                </c:pt>
                <c:pt idx="105">
                  <c:v>44345</c:v>
                </c:pt>
                <c:pt idx="106">
                  <c:v>44346</c:v>
                </c:pt>
                <c:pt idx="107">
                  <c:v>44347</c:v>
                </c:pt>
                <c:pt idx="108">
                  <c:v>44348</c:v>
                </c:pt>
                <c:pt idx="109">
                  <c:v>44349</c:v>
                </c:pt>
                <c:pt idx="110">
                  <c:v>44350</c:v>
                </c:pt>
                <c:pt idx="111">
                  <c:v>44351</c:v>
                </c:pt>
                <c:pt idx="112">
                  <c:v>44352</c:v>
                </c:pt>
                <c:pt idx="113">
                  <c:v>44353</c:v>
                </c:pt>
                <c:pt idx="114">
                  <c:v>44354</c:v>
                </c:pt>
                <c:pt idx="115">
                  <c:v>44355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5142</c:v>
                </c:pt>
                <c:pt idx="1">
                  <c:v>2880</c:v>
                </c:pt>
                <c:pt idx="2">
                  <c:v>8905</c:v>
                </c:pt>
                <c:pt idx="3">
                  <c:v>12608</c:v>
                </c:pt>
                <c:pt idx="4">
                  <c:v>10939</c:v>
                </c:pt>
                <c:pt idx="5">
                  <c:v>11704</c:v>
                </c:pt>
                <c:pt idx="6">
                  <c:v>11287</c:v>
                </c:pt>
                <c:pt idx="7">
                  <c:v>6775</c:v>
                </c:pt>
                <c:pt idx="8">
                  <c:v>4068</c:v>
                </c:pt>
                <c:pt idx="9">
                  <c:v>11410</c:v>
                </c:pt>
                <c:pt idx="10">
                  <c:v>15840</c:v>
                </c:pt>
                <c:pt idx="11">
                  <c:v>13796</c:v>
                </c:pt>
                <c:pt idx="12">
                  <c:v>14588</c:v>
                </c:pt>
                <c:pt idx="13">
                  <c:v>14775</c:v>
                </c:pt>
                <c:pt idx="14">
                  <c:v>7824</c:v>
                </c:pt>
                <c:pt idx="15">
                  <c:v>4588</c:v>
                </c:pt>
                <c:pt idx="16">
                  <c:v>12325</c:v>
                </c:pt>
                <c:pt idx="17">
                  <c:v>16781</c:v>
                </c:pt>
                <c:pt idx="18">
                  <c:v>15238</c:v>
                </c:pt>
                <c:pt idx="19">
                  <c:v>14649</c:v>
                </c:pt>
                <c:pt idx="20">
                  <c:v>13170</c:v>
                </c:pt>
                <c:pt idx="21">
                  <c:v>9130</c:v>
                </c:pt>
                <c:pt idx="22">
                  <c:v>3983</c:v>
                </c:pt>
                <c:pt idx="23">
                  <c:v>10653</c:v>
                </c:pt>
                <c:pt idx="24">
                  <c:v>15361</c:v>
                </c:pt>
                <c:pt idx="25">
                  <c:v>14537</c:v>
                </c:pt>
                <c:pt idx="26">
                  <c:v>11245</c:v>
                </c:pt>
                <c:pt idx="27">
                  <c:v>14960</c:v>
                </c:pt>
                <c:pt idx="28">
                  <c:v>6957</c:v>
                </c:pt>
                <c:pt idx="29">
                  <c:v>3334</c:v>
                </c:pt>
                <c:pt idx="30">
                  <c:v>10630</c:v>
                </c:pt>
                <c:pt idx="31">
                  <c:v>14027</c:v>
                </c:pt>
                <c:pt idx="32">
                  <c:v>12029</c:v>
                </c:pt>
                <c:pt idx="33">
                  <c:v>10661</c:v>
                </c:pt>
                <c:pt idx="34">
                  <c:v>9709</c:v>
                </c:pt>
                <c:pt idx="35">
                  <c:v>5466</c:v>
                </c:pt>
                <c:pt idx="36">
                  <c:v>2391</c:v>
                </c:pt>
                <c:pt idx="37">
                  <c:v>8239</c:v>
                </c:pt>
                <c:pt idx="38">
                  <c:v>10968</c:v>
                </c:pt>
                <c:pt idx="39">
                  <c:v>8849</c:v>
                </c:pt>
                <c:pt idx="40">
                  <c:v>7926</c:v>
                </c:pt>
                <c:pt idx="41">
                  <c:v>7712</c:v>
                </c:pt>
                <c:pt idx="42">
                  <c:v>3969</c:v>
                </c:pt>
                <c:pt idx="43">
                  <c:v>1744</c:v>
                </c:pt>
                <c:pt idx="44">
                  <c:v>6935</c:v>
                </c:pt>
                <c:pt idx="45">
                  <c:v>8630</c:v>
                </c:pt>
                <c:pt idx="46">
                  <c:v>7263</c:v>
                </c:pt>
                <c:pt idx="47">
                  <c:v>6245</c:v>
                </c:pt>
                <c:pt idx="48">
                  <c:v>3837</c:v>
                </c:pt>
                <c:pt idx="49">
                  <c:v>2160</c:v>
                </c:pt>
                <c:pt idx="50">
                  <c:v>1925</c:v>
                </c:pt>
                <c:pt idx="51">
                  <c:v>1419</c:v>
                </c:pt>
                <c:pt idx="52">
                  <c:v>5583</c:v>
                </c:pt>
                <c:pt idx="53">
                  <c:v>7052</c:v>
                </c:pt>
                <c:pt idx="54">
                  <c:v>5281</c:v>
                </c:pt>
                <c:pt idx="55">
                  <c:v>4819</c:v>
                </c:pt>
                <c:pt idx="56">
                  <c:v>2204</c:v>
                </c:pt>
                <c:pt idx="57">
                  <c:v>985</c:v>
                </c:pt>
                <c:pt idx="58">
                  <c:v>3868</c:v>
                </c:pt>
                <c:pt idx="59">
                  <c:v>5055</c:v>
                </c:pt>
                <c:pt idx="60">
                  <c:v>3715</c:v>
                </c:pt>
                <c:pt idx="61">
                  <c:v>3263</c:v>
                </c:pt>
                <c:pt idx="62">
                  <c:v>3217</c:v>
                </c:pt>
                <c:pt idx="63">
                  <c:v>1541</c:v>
                </c:pt>
                <c:pt idx="64">
                  <c:v>833</c:v>
                </c:pt>
                <c:pt idx="65">
                  <c:v>3341</c:v>
                </c:pt>
                <c:pt idx="66">
                  <c:v>3815</c:v>
                </c:pt>
                <c:pt idx="67">
                  <c:v>2951</c:v>
                </c:pt>
                <c:pt idx="68">
                  <c:v>2628</c:v>
                </c:pt>
                <c:pt idx="69">
                  <c:v>2601</c:v>
                </c:pt>
                <c:pt idx="70">
                  <c:v>1308</c:v>
                </c:pt>
                <c:pt idx="71">
                  <c:v>825</c:v>
                </c:pt>
                <c:pt idx="72">
                  <c:v>2579</c:v>
                </c:pt>
                <c:pt idx="73">
                  <c:v>3238</c:v>
                </c:pt>
                <c:pt idx="74">
                  <c:v>2488</c:v>
                </c:pt>
                <c:pt idx="75">
                  <c:v>2228</c:v>
                </c:pt>
                <c:pt idx="76">
                  <c:v>2165</c:v>
                </c:pt>
                <c:pt idx="77">
                  <c:v>1171</c:v>
                </c:pt>
                <c:pt idx="78">
                  <c:v>508</c:v>
                </c:pt>
                <c:pt idx="79">
                  <c:v>2219</c:v>
                </c:pt>
                <c:pt idx="80">
                  <c:v>2415</c:v>
                </c:pt>
                <c:pt idx="81">
                  <c:v>1873</c:v>
                </c:pt>
                <c:pt idx="82">
                  <c:v>1572</c:v>
                </c:pt>
                <c:pt idx="83">
                  <c:v>1638</c:v>
                </c:pt>
                <c:pt idx="84">
                  <c:v>725</c:v>
                </c:pt>
                <c:pt idx="85">
                  <c:v>383</c:v>
                </c:pt>
                <c:pt idx="86">
                  <c:v>1544</c:v>
                </c:pt>
                <c:pt idx="87">
                  <c:v>1690</c:v>
                </c:pt>
                <c:pt idx="88">
                  <c:v>1264</c:v>
                </c:pt>
                <c:pt idx="89">
                  <c:v>1223</c:v>
                </c:pt>
                <c:pt idx="90">
                  <c:v>1051</c:v>
                </c:pt>
                <c:pt idx="91">
                  <c:v>597</c:v>
                </c:pt>
                <c:pt idx="92">
                  <c:v>256</c:v>
                </c:pt>
                <c:pt idx="93">
                  <c:v>1128</c:v>
                </c:pt>
                <c:pt idx="94">
                  <c:v>1199</c:v>
                </c:pt>
                <c:pt idx="95">
                  <c:v>778</c:v>
                </c:pt>
                <c:pt idx="96">
                  <c:v>678</c:v>
                </c:pt>
                <c:pt idx="97">
                  <c:v>671</c:v>
                </c:pt>
                <c:pt idx="98">
                  <c:v>333</c:v>
                </c:pt>
                <c:pt idx="99">
                  <c:v>196</c:v>
                </c:pt>
                <c:pt idx="100">
                  <c:v>696</c:v>
                </c:pt>
                <c:pt idx="101">
                  <c:v>659</c:v>
                </c:pt>
                <c:pt idx="102">
                  <c:v>538</c:v>
                </c:pt>
                <c:pt idx="103">
                  <c:v>505</c:v>
                </c:pt>
                <c:pt idx="104">
                  <c:v>452</c:v>
                </c:pt>
                <c:pt idx="105">
                  <c:v>222</c:v>
                </c:pt>
                <c:pt idx="106">
                  <c:v>113</c:v>
                </c:pt>
                <c:pt idx="107">
                  <c:v>512</c:v>
                </c:pt>
                <c:pt idx="108">
                  <c:v>478</c:v>
                </c:pt>
                <c:pt idx="109">
                  <c:v>350</c:v>
                </c:pt>
                <c:pt idx="110">
                  <c:v>425</c:v>
                </c:pt>
                <c:pt idx="111">
                  <c:v>321</c:v>
                </c:pt>
                <c:pt idx="112">
                  <c:v>152</c:v>
                </c:pt>
                <c:pt idx="113">
                  <c:v>95</c:v>
                </c:pt>
                <c:pt idx="114">
                  <c:v>386</c:v>
                </c:pt>
                <c:pt idx="115">
                  <c:v>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90720000851767E-2"/>
          <c:y val="3.5150569012591358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AI$1</c:f>
              <c:strCache>
                <c:ptCount val="34"/>
                <c:pt idx="0">
                  <c:v>11.10 - 17.10</c:v>
                </c:pt>
                <c:pt idx="1">
                  <c:v>18.10 - 24.10</c:v>
                </c:pt>
                <c:pt idx="2">
                  <c:v>25.10 - 31.10</c:v>
                </c:pt>
                <c:pt idx="3">
                  <c:v>01.11 - 07.11</c:v>
                </c:pt>
                <c:pt idx="4">
                  <c:v>08.11 - 14.11</c:v>
                </c:pt>
                <c:pt idx="5">
                  <c:v>15.11 - 21.11</c:v>
                </c:pt>
                <c:pt idx="6">
                  <c:v>22.11 - 28.11</c:v>
                </c:pt>
                <c:pt idx="7">
                  <c:v>29.11 - 05.12</c:v>
                </c:pt>
                <c:pt idx="8">
                  <c:v>06.12 - 12.12</c:v>
                </c:pt>
                <c:pt idx="9">
                  <c:v>13.12 - 19.12</c:v>
                </c:pt>
                <c:pt idx="10">
                  <c:v>20.12 - 26.12</c:v>
                </c:pt>
                <c:pt idx="11">
                  <c:v>27.12 - 02.01</c:v>
                </c:pt>
                <c:pt idx="12">
                  <c:v>03.01 - 09.01</c:v>
                </c:pt>
                <c:pt idx="13">
                  <c:v>10.01 - 16.01</c:v>
                </c:pt>
                <c:pt idx="14">
                  <c:v>17.01 - 23.01</c:v>
                </c:pt>
                <c:pt idx="15">
                  <c:v>24.01 - 30.01</c:v>
                </c:pt>
                <c:pt idx="16">
                  <c:v>31.01 - 06.02</c:v>
                </c:pt>
                <c:pt idx="17">
                  <c:v>07.02 - 13.02</c:v>
                </c:pt>
                <c:pt idx="18">
                  <c:v>14.02 - 20.02</c:v>
                </c:pt>
                <c:pt idx="19">
                  <c:v>21.02 - 27.02</c:v>
                </c:pt>
                <c:pt idx="20">
                  <c:v>28.02 - 06.03</c:v>
                </c:pt>
                <c:pt idx="21">
                  <c:v>07.03 - 13.03</c:v>
                </c:pt>
                <c:pt idx="22">
                  <c:v>14.03 - 20.03</c:v>
                </c:pt>
                <c:pt idx="23">
                  <c:v>21.03 - 27.03</c:v>
                </c:pt>
                <c:pt idx="24">
                  <c:v>28.03 - 03.04</c:v>
                </c:pt>
                <c:pt idx="25">
                  <c:v>04.04 - 10.04</c:v>
                </c:pt>
                <c:pt idx="26">
                  <c:v>11.04 - 17.04</c:v>
                </c:pt>
                <c:pt idx="27">
                  <c:v>18.04 - 24.04</c:v>
                </c:pt>
                <c:pt idx="28">
                  <c:v>25.04 - 01.05</c:v>
                </c:pt>
                <c:pt idx="29">
                  <c:v>02.05 - 08.05</c:v>
                </c:pt>
                <c:pt idx="30">
                  <c:v>09.05 - 15.05</c:v>
                </c:pt>
                <c:pt idx="31">
                  <c:v>16.05 - 22.05</c:v>
                </c:pt>
                <c:pt idx="32">
                  <c:v>23.05 - 29.05</c:v>
                </c:pt>
                <c:pt idx="33">
                  <c:v>30.05 - 05.06</c:v>
                </c:pt>
              </c:strCache>
            </c:strRef>
          </c:cat>
          <c:val>
            <c:numRef>
              <c:f>List1!$B$2:$AI$2</c:f>
              <c:numCache>
                <c:formatCode>General</c:formatCode>
                <c:ptCount val="34"/>
                <c:pt idx="0">
                  <c:v>106.30008708498001</c:v>
                </c:pt>
                <c:pt idx="1">
                  <c:v>238.51412574789001</c:v>
                </c:pt>
                <c:pt idx="2">
                  <c:v>276.94433965257599</c:v>
                </c:pt>
                <c:pt idx="3">
                  <c:v>257.90551808511702</c:v>
                </c:pt>
                <c:pt idx="4">
                  <c:v>178.577094887371</c:v>
                </c:pt>
                <c:pt idx="5">
                  <c:v>133.800607126865</c:v>
                </c:pt>
                <c:pt idx="6">
                  <c:v>132.390324047794</c:v>
                </c:pt>
                <c:pt idx="7">
                  <c:v>142.96744714082701</c:v>
                </c:pt>
                <c:pt idx="8">
                  <c:v>170.82053795248001</c:v>
                </c:pt>
                <c:pt idx="9">
                  <c:v>201.84676569204299</c:v>
                </c:pt>
                <c:pt idx="10">
                  <c:v>183.51308566411899</c:v>
                </c:pt>
                <c:pt idx="11">
                  <c:v>227.937002654857</c:v>
                </c:pt>
                <c:pt idx="12">
                  <c:v>268.83521194791803</c:v>
                </c:pt>
                <c:pt idx="13">
                  <c:v>240.27697959672901</c:v>
                </c:pt>
                <c:pt idx="14">
                  <c:v>223.52986803275999</c:v>
                </c:pt>
                <c:pt idx="15">
                  <c:v>224.23500957229601</c:v>
                </c:pt>
                <c:pt idx="16">
                  <c:v>247.32839499208399</c:v>
                </c:pt>
                <c:pt idx="17">
                  <c:v>264.42807732582099</c:v>
                </c:pt>
                <c:pt idx="18">
                  <c:v>334.942231279373</c:v>
                </c:pt>
                <c:pt idx="19">
                  <c:v>441.771174519005</c:v>
                </c:pt>
                <c:pt idx="20">
                  <c:v>450.76172914808302</c:v>
                </c:pt>
                <c:pt idx="21">
                  <c:v>379.54243365499502</c:v>
                </c:pt>
                <c:pt idx="22">
                  <c:v>333.88451897007002</c:v>
                </c:pt>
                <c:pt idx="23">
                  <c:v>276.59176888280899</c:v>
                </c:pt>
                <c:pt idx="24">
                  <c:v>198.497343379249</c:v>
                </c:pt>
                <c:pt idx="25">
                  <c:v>152.13428715478901</c:v>
                </c:pt>
                <c:pt idx="26">
                  <c:v>138.73659790361401</c:v>
                </c:pt>
                <c:pt idx="27">
                  <c:v>105.947516315212</c:v>
                </c:pt>
                <c:pt idx="28">
                  <c:v>94.841537067527</c:v>
                </c:pt>
                <c:pt idx="29">
                  <c:v>76.860427809371998</c:v>
                </c:pt>
                <c:pt idx="30">
                  <c:v>58.526747781448002</c:v>
                </c:pt>
                <c:pt idx="31">
                  <c:v>39.840496983756999</c:v>
                </c:pt>
                <c:pt idx="32">
                  <c:v>23.974812344206999</c:v>
                </c:pt>
                <c:pt idx="33">
                  <c:v>15.86568463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AI$1</c:f>
              <c:strCache>
                <c:ptCount val="34"/>
                <c:pt idx="0">
                  <c:v>11.10 - 17.10</c:v>
                </c:pt>
                <c:pt idx="1">
                  <c:v>18.10 - 24.10</c:v>
                </c:pt>
                <c:pt idx="2">
                  <c:v>25.10 - 31.10</c:v>
                </c:pt>
                <c:pt idx="3">
                  <c:v>01.11 - 07.11</c:v>
                </c:pt>
                <c:pt idx="4">
                  <c:v>08.11 - 14.11</c:v>
                </c:pt>
                <c:pt idx="5">
                  <c:v>15.11 - 21.11</c:v>
                </c:pt>
                <c:pt idx="6">
                  <c:v>22.11 - 28.11</c:v>
                </c:pt>
                <c:pt idx="7">
                  <c:v>29.11 - 05.12</c:v>
                </c:pt>
                <c:pt idx="8">
                  <c:v>06.12 - 12.12</c:v>
                </c:pt>
                <c:pt idx="9">
                  <c:v>13.12 - 19.12</c:v>
                </c:pt>
                <c:pt idx="10">
                  <c:v>20.12 - 26.12</c:v>
                </c:pt>
                <c:pt idx="11">
                  <c:v>27.12 - 02.01</c:v>
                </c:pt>
                <c:pt idx="12">
                  <c:v>03.01 - 09.01</c:v>
                </c:pt>
                <c:pt idx="13">
                  <c:v>10.01 - 16.01</c:v>
                </c:pt>
                <c:pt idx="14">
                  <c:v>17.01 - 23.01</c:v>
                </c:pt>
                <c:pt idx="15">
                  <c:v>24.01 - 30.01</c:v>
                </c:pt>
                <c:pt idx="16">
                  <c:v>31.01 - 06.02</c:v>
                </c:pt>
                <c:pt idx="17">
                  <c:v>07.02 - 13.02</c:v>
                </c:pt>
                <c:pt idx="18">
                  <c:v>14.02 - 20.02</c:v>
                </c:pt>
                <c:pt idx="19">
                  <c:v>21.02 - 27.02</c:v>
                </c:pt>
                <c:pt idx="20">
                  <c:v>28.02 - 06.03</c:v>
                </c:pt>
                <c:pt idx="21">
                  <c:v>07.03 - 13.03</c:v>
                </c:pt>
                <c:pt idx="22">
                  <c:v>14.03 - 20.03</c:v>
                </c:pt>
                <c:pt idx="23">
                  <c:v>21.03 - 27.03</c:v>
                </c:pt>
                <c:pt idx="24">
                  <c:v>28.03 - 03.04</c:v>
                </c:pt>
                <c:pt idx="25">
                  <c:v>04.04 - 10.04</c:v>
                </c:pt>
                <c:pt idx="26">
                  <c:v>11.04 - 17.04</c:v>
                </c:pt>
                <c:pt idx="27">
                  <c:v>18.04 - 24.04</c:v>
                </c:pt>
                <c:pt idx="28">
                  <c:v>25.04 - 01.05</c:v>
                </c:pt>
                <c:pt idx="29">
                  <c:v>02.05 - 08.05</c:v>
                </c:pt>
                <c:pt idx="30">
                  <c:v>09.05 - 15.05</c:v>
                </c:pt>
                <c:pt idx="31">
                  <c:v>16.05 - 22.05</c:v>
                </c:pt>
                <c:pt idx="32">
                  <c:v>23.05 - 29.05</c:v>
                </c:pt>
                <c:pt idx="33">
                  <c:v>30.05 - 05.06</c:v>
                </c:pt>
              </c:strCache>
            </c:strRef>
          </c:cat>
          <c:val>
            <c:numRef>
              <c:f>List1!$B$3:$AI$3</c:f>
              <c:numCache>
                <c:formatCode>General</c:formatCode>
                <c:ptCount val="34"/>
                <c:pt idx="0">
                  <c:v>298.18351851550801</c:v>
                </c:pt>
                <c:pt idx="1">
                  <c:v>432.70991932166601</c:v>
                </c:pt>
                <c:pt idx="2">
                  <c:v>417.95702406597201</c:v>
                </c:pt>
                <c:pt idx="3">
                  <c:v>355.94485417763201</c:v>
                </c:pt>
                <c:pt idx="4">
                  <c:v>252.549562851709</c:v>
                </c:pt>
                <c:pt idx="5">
                  <c:v>182.41079811912999</c:v>
                </c:pt>
                <c:pt idx="6">
                  <c:v>165.53248575032799</c:v>
                </c:pt>
                <c:pt idx="7">
                  <c:v>176.28459585193499</c:v>
                </c:pt>
                <c:pt idx="8">
                  <c:v>247.79863048123099</c:v>
                </c:pt>
                <c:pt idx="9">
                  <c:v>311.81119294661499</c:v>
                </c:pt>
                <c:pt idx="10">
                  <c:v>310.56094758596299</c:v>
                </c:pt>
                <c:pt idx="11">
                  <c:v>392.70206778080097</c:v>
                </c:pt>
                <c:pt idx="12">
                  <c:v>472.34269725433597</c:v>
                </c:pt>
                <c:pt idx="13">
                  <c:v>439.83631787738301</c:v>
                </c:pt>
                <c:pt idx="14">
                  <c:v>419.20726942662401</c:v>
                </c:pt>
                <c:pt idx="15">
                  <c:v>397.70304922341001</c:v>
                </c:pt>
                <c:pt idx="16">
                  <c:v>446.96271643309899</c:v>
                </c:pt>
                <c:pt idx="17">
                  <c:v>488.47086240674702</c:v>
                </c:pt>
                <c:pt idx="18">
                  <c:v>640.25064918990302</c:v>
                </c:pt>
                <c:pt idx="19">
                  <c:v>780.90325226325604</c:v>
                </c:pt>
                <c:pt idx="20">
                  <c:v>726.89265268308895</c:v>
                </c:pt>
                <c:pt idx="21">
                  <c:v>564.61080487045501</c:v>
                </c:pt>
                <c:pt idx="22">
                  <c:v>451.71364880357697</c:v>
                </c:pt>
                <c:pt idx="23">
                  <c:v>358.94544304319697</c:v>
                </c:pt>
                <c:pt idx="24">
                  <c:v>253.174685532035</c:v>
                </c:pt>
                <c:pt idx="25">
                  <c:v>198.91403687973701</c:v>
                </c:pt>
                <c:pt idx="26">
                  <c:v>199.164085951868</c:v>
                </c:pt>
                <c:pt idx="27">
                  <c:v>172.658884306045</c:v>
                </c:pt>
                <c:pt idx="28">
                  <c:v>146.77880534054799</c:v>
                </c:pt>
                <c:pt idx="29">
                  <c:v>118.148186581616</c:v>
                </c:pt>
                <c:pt idx="30">
                  <c:v>76.890089680098995</c:v>
                </c:pt>
                <c:pt idx="31">
                  <c:v>63.387439785056998</c:v>
                </c:pt>
                <c:pt idx="32">
                  <c:v>45.633955663799</c:v>
                </c:pt>
                <c:pt idx="33">
                  <c:v>30.756035872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AI$1</c:f>
              <c:strCache>
                <c:ptCount val="34"/>
                <c:pt idx="0">
                  <c:v>11.10 - 17.10</c:v>
                </c:pt>
                <c:pt idx="1">
                  <c:v>18.10 - 24.10</c:v>
                </c:pt>
                <c:pt idx="2">
                  <c:v>25.10 - 31.10</c:v>
                </c:pt>
                <c:pt idx="3">
                  <c:v>01.11 - 07.11</c:v>
                </c:pt>
                <c:pt idx="4">
                  <c:v>08.11 - 14.11</c:v>
                </c:pt>
                <c:pt idx="5">
                  <c:v>15.11 - 21.11</c:v>
                </c:pt>
                <c:pt idx="6">
                  <c:v>22.11 - 28.11</c:v>
                </c:pt>
                <c:pt idx="7">
                  <c:v>29.11 - 05.12</c:v>
                </c:pt>
                <c:pt idx="8">
                  <c:v>06.12 - 12.12</c:v>
                </c:pt>
                <c:pt idx="9">
                  <c:v>13.12 - 19.12</c:v>
                </c:pt>
                <c:pt idx="10">
                  <c:v>20.12 - 26.12</c:v>
                </c:pt>
                <c:pt idx="11">
                  <c:v>27.12 - 02.01</c:v>
                </c:pt>
                <c:pt idx="12">
                  <c:v>03.01 - 09.01</c:v>
                </c:pt>
                <c:pt idx="13">
                  <c:v>10.01 - 16.01</c:v>
                </c:pt>
                <c:pt idx="14">
                  <c:v>17.01 - 23.01</c:v>
                </c:pt>
                <c:pt idx="15">
                  <c:v>24.01 - 30.01</c:v>
                </c:pt>
                <c:pt idx="16">
                  <c:v>31.01 - 06.02</c:v>
                </c:pt>
                <c:pt idx="17">
                  <c:v>07.02 - 13.02</c:v>
                </c:pt>
                <c:pt idx="18">
                  <c:v>14.02 - 20.02</c:v>
                </c:pt>
                <c:pt idx="19">
                  <c:v>21.02 - 27.02</c:v>
                </c:pt>
                <c:pt idx="20">
                  <c:v>28.02 - 06.03</c:v>
                </c:pt>
                <c:pt idx="21">
                  <c:v>07.03 - 13.03</c:v>
                </c:pt>
                <c:pt idx="22">
                  <c:v>14.03 - 20.03</c:v>
                </c:pt>
                <c:pt idx="23">
                  <c:v>21.03 - 27.03</c:v>
                </c:pt>
                <c:pt idx="24">
                  <c:v>28.03 - 03.04</c:v>
                </c:pt>
                <c:pt idx="25">
                  <c:v>04.04 - 10.04</c:v>
                </c:pt>
                <c:pt idx="26">
                  <c:v>11.04 - 17.04</c:v>
                </c:pt>
                <c:pt idx="27">
                  <c:v>18.04 - 24.04</c:v>
                </c:pt>
                <c:pt idx="28">
                  <c:v>25.04 - 01.05</c:v>
                </c:pt>
                <c:pt idx="29">
                  <c:v>02.05 - 08.05</c:v>
                </c:pt>
                <c:pt idx="30">
                  <c:v>09.05 - 15.05</c:v>
                </c:pt>
                <c:pt idx="31">
                  <c:v>16.05 - 22.05</c:v>
                </c:pt>
                <c:pt idx="32">
                  <c:v>23.05 - 29.05</c:v>
                </c:pt>
                <c:pt idx="33">
                  <c:v>30.05 - 05.06</c:v>
                </c:pt>
              </c:strCache>
            </c:strRef>
          </c:cat>
          <c:val>
            <c:numRef>
              <c:f>List1!$B$4:$AI$4</c:f>
              <c:numCache>
                <c:formatCode>General</c:formatCode>
                <c:ptCount val="34"/>
                <c:pt idx="0">
                  <c:v>384.42104364204801</c:v>
                </c:pt>
                <c:pt idx="1">
                  <c:v>547.63096528705205</c:v>
                </c:pt>
                <c:pt idx="2">
                  <c:v>568.26942921599903</c:v>
                </c:pt>
                <c:pt idx="3">
                  <c:v>538.37924007752395</c:v>
                </c:pt>
                <c:pt idx="4">
                  <c:v>353.10751216364599</c:v>
                </c:pt>
                <c:pt idx="5">
                  <c:v>237.10511145956599</c:v>
                </c:pt>
                <c:pt idx="6">
                  <c:v>212.908291680801</c:v>
                </c:pt>
                <c:pt idx="7">
                  <c:v>204.01240205625501</c:v>
                </c:pt>
                <c:pt idx="8">
                  <c:v>274.349236020999</c:v>
                </c:pt>
                <c:pt idx="9">
                  <c:v>407.90619225084902</c:v>
                </c:pt>
                <c:pt idx="10">
                  <c:v>402.56865847612198</c:v>
                </c:pt>
                <c:pt idx="11">
                  <c:v>557.11991421990103</c:v>
                </c:pt>
                <c:pt idx="12">
                  <c:v>709.41754459212905</c:v>
                </c:pt>
                <c:pt idx="13">
                  <c:v>460.80708255148301</c:v>
                </c:pt>
                <c:pt idx="14">
                  <c:v>365.68036949967097</c:v>
                </c:pt>
                <c:pt idx="15">
                  <c:v>356.66586801346398</c:v>
                </c:pt>
                <c:pt idx="16">
                  <c:v>386.67466901360001</c:v>
                </c:pt>
                <c:pt idx="17">
                  <c:v>412.88789044059502</c:v>
                </c:pt>
                <c:pt idx="18">
                  <c:v>523.31553364662602</c:v>
                </c:pt>
                <c:pt idx="19">
                  <c:v>685.57656039834603</c:v>
                </c:pt>
                <c:pt idx="20">
                  <c:v>723.05790868309896</c:v>
                </c:pt>
                <c:pt idx="21">
                  <c:v>702.06360916917095</c:v>
                </c:pt>
                <c:pt idx="22">
                  <c:v>607.52995542566202</c:v>
                </c:pt>
                <c:pt idx="23">
                  <c:v>456.53705553170101</c:v>
                </c:pt>
                <c:pt idx="24">
                  <c:v>339.58575993433601</c:v>
                </c:pt>
                <c:pt idx="25">
                  <c:v>260.946095653349</c:v>
                </c:pt>
                <c:pt idx="26">
                  <c:v>231.53035396151699</c:v>
                </c:pt>
                <c:pt idx="27">
                  <c:v>169.14051472803399</c:v>
                </c:pt>
                <c:pt idx="28">
                  <c:v>148.97649824573</c:v>
                </c:pt>
                <c:pt idx="29">
                  <c:v>114.341834640831</c:v>
                </c:pt>
                <c:pt idx="30">
                  <c:v>79.351335450950003</c:v>
                </c:pt>
                <c:pt idx="31">
                  <c:v>60.610661308573</c:v>
                </c:pt>
                <c:pt idx="32">
                  <c:v>46.851685355942003</c:v>
                </c:pt>
                <c:pt idx="33">
                  <c:v>41.988599027856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4"/>
          <c:order val="3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AI$1</c:f>
              <c:strCache>
                <c:ptCount val="34"/>
                <c:pt idx="0">
                  <c:v>11.10 - 17.10</c:v>
                </c:pt>
                <c:pt idx="1">
                  <c:v>18.10 - 24.10</c:v>
                </c:pt>
                <c:pt idx="2">
                  <c:v>25.10 - 31.10</c:v>
                </c:pt>
                <c:pt idx="3">
                  <c:v>01.11 - 07.11</c:v>
                </c:pt>
                <c:pt idx="4">
                  <c:v>08.11 - 14.11</c:v>
                </c:pt>
                <c:pt idx="5">
                  <c:v>15.11 - 21.11</c:v>
                </c:pt>
                <c:pt idx="6">
                  <c:v>22.11 - 28.11</c:v>
                </c:pt>
                <c:pt idx="7">
                  <c:v>29.11 - 05.12</c:v>
                </c:pt>
                <c:pt idx="8">
                  <c:v>06.12 - 12.12</c:v>
                </c:pt>
                <c:pt idx="9">
                  <c:v>13.12 - 19.12</c:v>
                </c:pt>
                <c:pt idx="10">
                  <c:v>20.12 - 26.12</c:v>
                </c:pt>
                <c:pt idx="11">
                  <c:v>27.12 - 02.01</c:v>
                </c:pt>
                <c:pt idx="12">
                  <c:v>03.01 - 09.01</c:v>
                </c:pt>
                <c:pt idx="13">
                  <c:v>10.01 - 16.01</c:v>
                </c:pt>
                <c:pt idx="14">
                  <c:v>17.01 - 23.01</c:v>
                </c:pt>
                <c:pt idx="15">
                  <c:v>24.01 - 30.01</c:v>
                </c:pt>
                <c:pt idx="16">
                  <c:v>31.01 - 06.02</c:v>
                </c:pt>
                <c:pt idx="17">
                  <c:v>07.02 - 13.02</c:v>
                </c:pt>
                <c:pt idx="18">
                  <c:v>14.02 - 20.02</c:v>
                </c:pt>
                <c:pt idx="19">
                  <c:v>21.02 - 27.02</c:v>
                </c:pt>
                <c:pt idx="20">
                  <c:v>28.02 - 06.03</c:v>
                </c:pt>
                <c:pt idx="21">
                  <c:v>07.03 - 13.03</c:v>
                </c:pt>
                <c:pt idx="22">
                  <c:v>14.03 - 20.03</c:v>
                </c:pt>
                <c:pt idx="23">
                  <c:v>21.03 - 27.03</c:v>
                </c:pt>
                <c:pt idx="24">
                  <c:v>28.03 - 03.04</c:v>
                </c:pt>
                <c:pt idx="25">
                  <c:v>04.04 - 10.04</c:v>
                </c:pt>
                <c:pt idx="26">
                  <c:v>11.04 - 17.04</c:v>
                </c:pt>
                <c:pt idx="27">
                  <c:v>18.04 - 24.04</c:v>
                </c:pt>
                <c:pt idx="28">
                  <c:v>25.04 - 01.05</c:v>
                </c:pt>
                <c:pt idx="29">
                  <c:v>02.05 - 08.05</c:v>
                </c:pt>
                <c:pt idx="30">
                  <c:v>09.05 - 15.05</c:v>
                </c:pt>
                <c:pt idx="31">
                  <c:v>16.05 - 22.05</c:v>
                </c:pt>
                <c:pt idx="32">
                  <c:v>23.05 - 29.05</c:v>
                </c:pt>
                <c:pt idx="33">
                  <c:v>30.05 - 05.06</c:v>
                </c:pt>
              </c:strCache>
            </c:strRef>
          </c:cat>
          <c:val>
            <c:numRef>
              <c:f>List1!$B$6:$AI$6</c:f>
              <c:numCache>
                <c:formatCode>General</c:formatCode>
                <c:ptCount val="34"/>
                <c:pt idx="0">
                  <c:v>512.27006505555096</c:v>
                </c:pt>
                <c:pt idx="1">
                  <c:v>765.92887330767496</c:v>
                </c:pt>
                <c:pt idx="2">
                  <c:v>787.67292572065298</c:v>
                </c:pt>
                <c:pt idx="3">
                  <c:v>711.17161196687198</c:v>
                </c:pt>
                <c:pt idx="4">
                  <c:v>439.758742870459</c:v>
                </c:pt>
                <c:pt idx="5">
                  <c:v>304.02427559460398</c:v>
                </c:pt>
                <c:pt idx="6">
                  <c:v>260.29322046235802</c:v>
                </c:pt>
                <c:pt idx="7">
                  <c:v>252.94864581835299</c:v>
                </c:pt>
                <c:pt idx="8">
                  <c:v>311.80802963844201</c:v>
                </c:pt>
                <c:pt idx="9">
                  <c:v>421.59353535398799</c:v>
                </c:pt>
                <c:pt idx="10">
                  <c:v>434.33908219167699</c:v>
                </c:pt>
                <c:pt idx="11">
                  <c:v>654.05025726101303</c:v>
                </c:pt>
                <c:pt idx="12">
                  <c:v>848.58804290165995</c:v>
                </c:pt>
                <c:pt idx="13">
                  <c:v>542.554755158886</c:v>
                </c:pt>
                <c:pt idx="14">
                  <c:v>452.03707758066702</c:v>
                </c:pt>
                <c:pt idx="15">
                  <c:v>440.90808470406301</c:v>
                </c:pt>
                <c:pt idx="16">
                  <c:v>468.68851780409898</c:v>
                </c:pt>
                <c:pt idx="17">
                  <c:v>495.59993634701902</c:v>
                </c:pt>
                <c:pt idx="18">
                  <c:v>608.300845738048</c:v>
                </c:pt>
                <c:pt idx="19">
                  <c:v>769.04050607670104</c:v>
                </c:pt>
                <c:pt idx="20">
                  <c:v>802.45551743416002</c:v>
                </c:pt>
                <c:pt idx="21">
                  <c:v>726.00092489312703</c:v>
                </c:pt>
                <c:pt idx="22">
                  <c:v>615.36509310556505</c:v>
                </c:pt>
                <c:pt idx="23">
                  <c:v>467.707372336388</c:v>
                </c:pt>
                <c:pt idx="24">
                  <c:v>343.99894522189999</c:v>
                </c:pt>
                <c:pt idx="25">
                  <c:v>264.28321203104798</c:v>
                </c:pt>
                <c:pt idx="26">
                  <c:v>202.25612998663601</c:v>
                </c:pt>
                <c:pt idx="27">
                  <c:v>163.29998279724899</c:v>
                </c:pt>
                <c:pt idx="28">
                  <c:v>137.31364426674099</c:v>
                </c:pt>
                <c:pt idx="29">
                  <c:v>102.31945591839499</c:v>
                </c:pt>
                <c:pt idx="30">
                  <c:v>72.436568244694001</c:v>
                </c:pt>
                <c:pt idx="31">
                  <c:v>47.123015177759001</c:v>
                </c:pt>
                <c:pt idx="32">
                  <c:v>30.536984652175001</c:v>
                </c:pt>
                <c:pt idx="33">
                  <c:v>22.005691204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931538510184626"/>
          <c:y val="0.17604285426459837"/>
          <c:w val="0.11709342660913936"/>
          <c:h val="0.660172026152269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67813761819966722"/>
          <c:h val="0.7587762916834988"/>
        </c:manualLayout>
      </c:layout>
      <c:lineChart>
        <c:grouping val="standard"/>
        <c:varyColors val="0"/>
        <c:ser>
          <c:idx val="3"/>
          <c:order val="3"/>
          <c:tx>
            <c:strRef>
              <c:f>List1!$A$5</c:f>
              <c:strCache>
                <c:ptCount val="1"/>
                <c:pt idx="0">
                  <c:v>Plzeňský kraj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</c:strCache>
            </c:strRef>
          </c:cat>
          <c:val>
            <c:numRef>
              <c:f>List1!$B$5:$P$5</c:f>
              <c:numCache>
                <c:formatCode>General</c:formatCode>
                <c:ptCount val="15"/>
                <c:pt idx="0">
                  <c:v>340.49058439302343</c:v>
                </c:pt>
                <c:pt idx="1">
                  <c:v>363.65320918166447</c:v>
                </c:pt>
                <c:pt idx="2">
                  <c:v>382.1833090125773</c:v>
                </c:pt>
                <c:pt idx="3">
                  <c:v>405.34593380121834</c:v>
                </c:pt>
                <c:pt idx="4">
                  <c:v>465.5687582516851</c:v>
                </c:pt>
                <c:pt idx="5">
                  <c:v>514.21027030783125</c:v>
                </c:pt>
                <c:pt idx="6">
                  <c:v>780.58045537720329</c:v>
                </c:pt>
                <c:pt idx="7">
                  <c:v>1009.8904407847497</c:v>
                </c:pt>
                <c:pt idx="8">
                  <c:v>1262.3630509809373</c:v>
                </c:pt>
                <c:pt idx="9">
                  <c:v>926.50499154564193</c:v>
                </c:pt>
                <c:pt idx="10">
                  <c:v>627.70713177217237</c:v>
                </c:pt>
                <c:pt idx="11">
                  <c:v>528.10784518101593</c:v>
                </c:pt>
                <c:pt idx="12">
                  <c:v>321.96048456211059</c:v>
                </c:pt>
                <c:pt idx="13">
                  <c:v>157.50584856275913</c:v>
                </c:pt>
                <c:pt idx="14">
                  <c:v>180.668473351400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26-4FD9-B060-7E72319C368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Karlovarský kraj</c:v>
                </c:pt>
              </c:strCache>
            </c:strRef>
          </c:tx>
          <c:spPr>
            <a:ln w="28575" cap="rnd">
              <a:solidFill>
                <a:srgbClr val="8053F0"/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</c:strCache>
            </c:strRef>
          </c:cat>
          <c:val>
            <c:numRef>
              <c:f>List1!$B$6:$P$6</c:f>
              <c:numCache>
                <c:formatCode>General</c:formatCode>
                <c:ptCount val="15"/>
                <c:pt idx="0">
                  <c:v>237.40806256400708</c:v>
                </c:pt>
                <c:pt idx="1">
                  <c:v>470.16106507773952</c:v>
                </c:pt>
                <c:pt idx="2">
                  <c:v>442.23070477609161</c:v>
                </c:pt>
                <c:pt idx="3">
                  <c:v>684.29382739037328</c:v>
                </c:pt>
                <c:pt idx="4">
                  <c:v>823.94562889861277</c:v>
                </c:pt>
                <c:pt idx="5">
                  <c:v>861.18610930081002</c:v>
                </c:pt>
                <c:pt idx="6">
                  <c:v>837.91080904943669</c:v>
                </c:pt>
                <c:pt idx="7">
                  <c:v>1261.5212736244298</c:v>
                </c:pt>
                <c:pt idx="8">
                  <c:v>1047.3885113117958</c:v>
                </c:pt>
                <c:pt idx="9">
                  <c:v>479.47118517828881</c:v>
                </c:pt>
                <c:pt idx="10">
                  <c:v>363.09468392142259</c:v>
                </c:pt>
                <c:pt idx="11">
                  <c:v>186.20240201098594</c:v>
                </c:pt>
                <c:pt idx="12">
                  <c:v>111.72144120659156</c:v>
                </c:pt>
                <c:pt idx="13">
                  <c:v>69.825900754119729</c:v>
                </c:pt>
                <c:pt idx="14">
                  <c:v>88.446140955218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E26-4FD9-B060-7E72319C3689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Královéhradecký kraj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4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</c:strCache>
              <c:extLst xmlns:c15="http://schemas.microsoft.com/office/drawing/2012/chart"/>
            </c:strRef>
          </c:cat>
          <c:val>
            <c:numRef>
              <c:f>List1!$B$9:$P$9</c:f>
              <c:numCache>
                <c:formatCode>General</c:formatCode>
                <c:ptCount val="15"/>
                <c:pt idx="0">
                  <c:v>555.91085748019873</c:v>
                </c:pt>
                <c:pt idx="1">
                  <c:v>760.07280956363456</c:v>
                </c:pt>
                <c:pt idx="2">
                  <c:v>792.04998278152209</c:v>
                </c:pt>
                <c:pt idx="3">
                  <c:v>956.85541398140401</c:v>
                </c:pt>
                <c:pt idx="4">
                  <c:v>789.5902002263</c:v>
                </c:pt>
                <c:pt idx="5">
                  <c:v>996.21193486495793</c:v>
                </c:pt>
                <c:pt idx="6">
                  <c:v>1040.4880208589561</c:v>
                </c:pt>
                <c:pt idx="7">
                  <c:v>1136.4195405126186</c:v>
                </c:pt>
                <c:pt idx="8">
                  <c:v>1062.6260638559552</c:v>
                </c:pt>
                <c:pt idx="9">
                  <c:v>811.72824322329905</c:v>
                </c:pt>
                <c:pt idx="10">
                  <c:v>610.0260736950853</c:v>
                </c:pt>
                <c:pt idx="11">
                  <c:v>383.72607861465048</c:v>
                </c:pt>
                <c:pt idx="12">
                  <c:v>245.97825552221184</c:v>
                </c:pt>
                <c:pt idx="13">
                  <c:v>105.77064987455108</c:v>
                </c:pt>
                <c:pt idx="14">
                  <c:v>103.31086731932898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A-A119-4CC1-90C0-7BD3D0B4271E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Pardubický kraj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</c:strCache>
              <c:extLst xmlns:c15="http://schemas.microsoft.com/office/drawing/2012/chart"/>
            </c:strRef>
          </c:cat>
          <c:val>
            <c:numRef>
              <c:f>List1!$B$10:$P$10</c:f>
              <c:numCache>
                <c:formatCode>General</c:formatCode>
                <c:ptCount val="15"/>
                <c:pt idx="0">
                  <c:v>454.9055687597434</c:v>
                </c:pt>
                <c:pt idx="1">
                  <c:v>684.9140024023103</c:v>
                </c:pt>
                <c:pt idx="2">
                  <c:v>526.46374811520866</c:v>
                </c:pt>
                <c:pt idx="3">
                  <c:v>465.12816581052414</c:v>
                </c:pt>
                <c:pt idx="4">
                  <c:v>531.575046640599</c:v>
                </c:pt>
                <c:pt idx="5">
                  <c:v>526.46374811520866</c:v>
                </c:pt>
                <c:pt idx="6">
                  <c:v>746.24958470699482</c:v>
                </c:pt>
                <c:pt idx="7">
                  <c:v>774.36172659664192</c:v>
                </c:pt>
                <c:pt idx="8">
                  <c:v>930.25633162104828</c:v>
                </c:pt>
                <c:pt idx="9">
                  <c:v>792.25127143550822</c:v>
                </c:pt>
                <c:pt idx="10">
                  <c:v>789.69562217281305</c:v>
                </c:pt>
                <c:pt idx="11">
                  <c:v>587.79933041989318</c:v>
                </c:pt>
                <c:pt idx="12">
                  <c:v>444.68297170896267</c:v>
                </c:pt>
                <c:pt idx="13">
                  <c:v>373.12479235349741</c:v>
                </c:pt>
                <c:pt idx="14">
                  <c:v>304.12226226072733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B-A119-4CC1-90C0-7BD3D0B4271E}"/>
            </c:ext>
          </c:extLst>
        </c:ser>
        <c:ser>
          <c:idx val="14"/>
          <c:order val="14"/>
          <c:tx>
            <c:strRef>
              <c:f>List1!$A$16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P$1</c:f>
              <c:strCache>
                <c:ptCount val="15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</c:strCache>
            </c:strRef>
          </c:cat>
          <c:val>
            <c:numRef>
              <c:f>List1!$B$16:$P$16</c:f>
              <c:numCache>
                <c:formatCode>General</c:formatCode>
                <c:ptCount val="15"/>
                <c:pt idx="0">
                  <c:v>387.85463732254237</c:v>
                </c:pt>
                <c:pt idx="1">
                  <c:v>466.8345969302876</c:v>
                </c:pt>
                <c:pt idx="2">
                  <c:v>407.50692774137099</c:v>
                </c:pt>
                <c:pt idx="3">
                  <c:v>371.16873036315957</c:v>
                </c:pt>
                <c:pt idx="4">
                  <c:v>370.67433311991857</c:v>
                </c:pt>
                <c:pt idx="5">
                  <c:v>399.72017116032566</c:v>
                </c:pt>
                <c:pt idx="6">
                  <c:v>450.3958885925253</c:v>
                </c:pt>
                <c:pt idx="7">
                  <c:v>582.02915460543397</c:v>
                </c:pt>
                <c:pt idx="8">
                  <c:v>685.97617499684827</c:v>
                </c:pt>
                <c:pt idx="9">
                  <c:v>589.8159111864793</c:v>
                </c:pt>
                <c:pt idx="10">
                  <c:v>499.21761636257122</c:v>
                </c:pt>
                <c:pt idx="11">
                  <c:v>399.72017116032566</c:v>
                </c:pt>
                <c:pt idx="12">
                  <c:v>313.44785221477611</c:v>
                </c:pt>
                <c:pt idx="13">
                  <c:v>202.82646903960867</c:v>
                </c:pt>
                <c:pt idx="14">
                  <c:v>205.29845525581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A119-4CC1-90C0-7BD3D0B427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A$2</c15:sqref>
                        </c15:formulaRef>
                      </c:ext>
                    </c:extLst>
                    <c:strCache>
                      <c:ptCount val="1"/>
                      <c:pt idx="0">
                        <c:v>Hlavní město Praha</c:v>
                      </c:pt>
                    </c:strCache>
                  </c:strRef>
                </c:tx>
                <c:spPr>
                  <a:ln w="28575" cap="rnd">
                    <a:solidFill>
                      <a:srgbClr val="00B0F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B$2:$P$2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387.30056535822786</c:v>
                      </c:pt>
                      <c:pt idx="1">
                        <c:v>458.7248254632517</c:v>
                      </c:pt>
                      <c:pt idx="2">
                        <c:v>321.91215821982576</c:v>
                      </c:pt>
                      <c:pt idx="3">
                        <c:v>315.87630525320401</c:v>
                      </c:pt>
                      <c:pt idx="4">
                        <c:v>352.09142305293443</c:v>
                      </c:pt>
                      <c:pt idx="5">
                        <c:v>386.29458986379092</c:v>
                      </c:pt>
                      <c:pt idx="6">
                        <c:v>455.70689897994083</c:v>
                      </c:pt>
                      <c:pt idx="7">
                        <c:v>563.34627688469504</c:v>
                      </c:pt>
                      <c:pt idx="8">
                        <c:v>610.62712512323196</c:v>
                      </c:pt>
                      <c:pt idx="9">
                        <c:v>444.64116854113433</c:v>
                      </c:pt>
                      <c:pt idx="10">
                        <c:v>370.19898195279961</c:v>
                      </c:pt>
                      <c:pt idx="11">
                        <c:v>281.67313844234752</c:v>
                      </c:pt>
                      <c:pt idx="12">
                        <c:v>220.30863328169326</c:v>
                      </c:pt>
                      <c:pt idx="13">
                        <c:v>147.87839768223247</c:v>
                      </c:pt>
                      <c:pt idx="14">
                        <c:v>114.6812063658129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8E26-4FD9-B060-7E72319C3689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</c15:sqref>
                        </c15:formulaRef>
                      </c:ext>
                    </c:extLst>
                    <c:strCache>
                      <c:ptCount val="1"/>
                      <c:pt idx="0">
                        <c:v>Středočeský kraj</c:v>
                      </c:pt>
                    </c:strCache>
                  </c:strRef>
                </c:tx>
                <c:spPr>
                  <a:ln w="28575" cap="rnd">
                    <a:solidFill>
                      <a:srgbClr val="00B05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:$P$3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500.16756032171583</c:v>
                      </c:pt>
                      <c:pt idx="1">
                        <c:v>526.13941018766752</c:v>
                      </c:pt>
                      <c:pt idx="2">
                        <c:v>444.03485254691691</c:v>
                      </c:pt>
                      <c:pt idx="3">
                        <c:v>428.9544235924933</c:v>
                      </c:pt>
                      <c:pt idx="4">
                        <c:v>408.84718498659515</c:v>
                      </c:pt>
                      <c:pt idx="5">
                        <c:v>467.49329758713139</c:v>
                      </c:pt>
                      <c:pt idx="6">
                        <c:v>509.38337801608577</c:v>
                      </c:pt>
                      <c:pt idx="7">
                        <c:v>717.99597855227887</c:v>
                      </c:pt>
                      <c:pt idx="8">
                        <c:v>891.4209115281501</c:v>
                      </c:pt>
                      <c:pt idx="9">
                        <c:v>793.39812332439681</c:v>
                      </c:pt>
                      <c:pt idx="10">
                        <c:v>566.35388739946382</c:v>
                      </c:pt>
                      <c:pt idx="11">
                        <c:v>411.36058981233242</c:v>
                      </c:pt>
                      <c:pt idx="12">
                        <c:v>299.09517426273459</c:v>
                      </c:pt>
                      <c:pt idx="13">
                        <c:v>199.39678284182307</c:v>
                      </c:pt>
                      <c:pt idx="14">
                        <c:v>178.451742627345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8E26-4FD9-B060-7E72319C3689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4</c15:sqref>
                        </c15:formulaRef>
                      </c:ext>
                    </c:extLst>
                    <c:strCache>
                      <c:ptCount val="1"/>
                      <c:pt idx="0">
                        <c:v>Jihočeský kraj</c:v>
                      </c:pt>
                    </c:strCache>
                  </c:strRef>
                </c:tx>
                <c:spPr>
                  <a:ln w="28575" cap="rnd">
                    <a:solidFill>
                      <a:srgbClr val="C00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4:$P$4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338.96190317750791</c:v>
                      </c:pt>
                      <c:pt idx="1">
                        <c:v>376.39327898852105</c:v>
                      </c:pt>
                      <c:pt idx="2">
                        <c:v>357.67759108301448</c:v>
                      </c:pt>
                      <c:pt idx="3">
                        <c:v>230.82681750124772</c:v>
                      </c:pt>
                      <c:pt idx="4">
                        <c:v>301.53052736649477</c:v>
                      </c:pt>
                      <c:pt idx="5">
                        <c:v>365.99567459657294</c:v>
                      </c:pt>
                      <c:pt idx="6">
                        <c:v>397.18848777241726</c:v>
                      </c:pt>
                      <c:pt idx="7">
                        <c:v>438.77890534020963</c:v>
                      </c:pt>
                      <c:pt idx="8">
                        <c:v>555.23207453002829</c:v>
                      </c:pt>
                      <c:pt idx="9">
                        <c:v>717.4347030444186</c:v>
                      </c:pt>
                      <c:pt idx="10">
                        <c:v>671.68524371984699</c:v>
                      </c:pt>
                      <c:pt idx="11">
                        <c:v>704.95757777408085</c:v>
                      </c:pt>
                      <c:pt idx="12">
                        <c:v>536.51638662452172</c:v>
                      </c:pt>
                      <c:pt idx="13">
                        <c:v>262.01963067709198</c:v>
                      </c:pt>
                      <c:pt idx="14">
                        <c:v>328.56429878555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E26-4FD9-B060-7E72319C3689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7</c15:sqref>
                        </c15:formulaRef>
                      </c:ext>
                    </c:extLst>
                    <c:strCache>
                      <c:ptCount val="1"/>
                      <c:pt idx="0">
                        <c:v>Ústecký kraj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7:$P$7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284.57869634340221</c:v>
                      </c:pt>
                      <c:pt idx="1">
                        <c:v>357.71065182829886</c:v>
                      </c:pt>
                      <c:pt idx="2">
                        <c:v>268.68044515103338</c:v>
                      </c:pt>
                      <c:pt idx="3">
                        <c:v>230.52464228934818</c:v>
                      </c:pt>
                      <c:pt idx="4">
                        <c:v>244.83306836248013</c:v>
                      </c:pt>
                      <c:pt idx="5">
                        <c:v>306.83624801271861</c:v>
                      </c:pt>
                      <c:pt idx="6">
                        <c:v>365.65977742448331</c:v>
                      </c:pt>
                      <c:pt idx="7">
                        <c:v>467.40858505564387</c:v>
                      </c:pt>
                      <c:pt idx="8">
                        <c:v>691.57392686804451</c:v>
                      </c:pt>
                      <c:pt idx="9">
                        <c:v>696.3434022257552</c:v>
                      </c:pt>
                      <c:pt idx="10">
                        <c:v>607.31319554848972</c:v>
                      </c:pt>
                      <c:pt idx="11">
                        <c:v>531.00158982511925</c:v>
                      </c:pt>
                      <c:pt idx="12">
                        <c:v>445.15103338632753</c:v>
                      </c:pt>
                      <c:pt idx="13">
                        <c:v>252.78219395866455</c:v>
                      </c:pt>
                      <c:pt idx="14">
                        <c:v>265.5007949125596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A119-4CC1-90C0-7BD3D0B4271E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8</c15:sqref>
                        </c15:formulaRef>
                      </c:ext>
                    </c:extLst>
                    <c:strCache>
                      <c:ptCount val="1"/>
                      <c:pt idx="0">
                        <c:v>Liberecký kraj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8:$P$8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475.58287901635543</c:v>
                      </c:pt>
                      <c:pt idx="1">
                        <c:v>571.27943394037811</c:v>
                      </c:pt>
                      <c:pt idx="2">
                        <c:v>782.97181301473142</c:v>
                      </c:pt>
                      <c:pt idx="3">
                        <c:v>568.37953833661993</c:v>
                      </c:pt>
                      <c:pt idx="4">
                        <c:v>510.38162626145458</c:v>
                      </c:pt>
                      <c:pt idx="5">
                        <c:v>545.18037350655379</c:v>
                      </c:pt>
                      <c:pt idx="6">
                        <c:v>614.77786799675209</c:v>
                      </c:pt>
                      <c:pt idx="7">
                        <c:v>820.67045586358893</c:v>
                      </c:pt>
                      <c:pt idx="8">
                        <c:v>1096.1605382206239</c:v>
                      </c:pt>
                      <c:pt idx="9">
                        <c:v>916.36701078761166</c:v>
                      </c:pt>
                      <c:pt idx="10">
                        <c:v>832.270038278622</c:v>
                      </c:pt>
                      <c:pt idx="11">
                        <c:v>577.0792251478947</c:v>
                      </c:pt>
                      <c:pt idx="12">
                        <c:v>420.48486254494838</c:v>
                      </c:pt>
                      <c:pt idx="13">
                        <c:v>205.89258786683681</c:v>
                      </c:pt>
                      <c:pt idx="14">
                        <c:v>278.3899779607934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A119-4CC1-90C0-7BD3D0B4271E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1</c15:sqref>
                        </c15:formulaRef>
                      </c:ext>
                    </c:extLst>
                    <c:strCache>
                      <c:ptCount val="1"/>
                      <c:pt idx="0">
                        <c:v>Kraj Vysočin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40000"/>
                        <a:lumOff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1:$P$11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140.8717795898464</c:v>
                      </c:pt>
                      <c:pt idx="1">
                        <c:v>143.5808522742665</c:v>
                      </c:pt>
                      <c:pt idx="2">
                        <c:v>181.50786985614823</c:v>
                      </c:pt>
                      <c:pt idx="3">
                        <c:v>92.108471270284184</c:v>
                      </c:pt>
                      <c:pt idx="4">
                        <c:v>51.472381003982335</c:v>
                      </c:pt>
                      <c:pt idx="5">
                        <c:v>51.472381003982335</c:v>
                      </c:pt>
                      <c:pt idx="6">
                        <c:v>67.726817110503077</c:v>
                      </c:pt>
                      <c:pt idx="7">
                        <c:v>124.61734348332566</c:v>
                      </c:pt>
                      <c:pt idx="8">
                        <c:v>146.28992495868664</c:v>
                      </c:pt>
                      <c:pt idx="9">
                        <c:v>181.50786985614823</c:v>
                      </c:pt>
                      <c:pt idx="10">
                        <c:v>157.12621569636713</c:v>
                      </c:pt>
                      <c:pt idx="11">
                        <c:v>159.83528838078726</c:v>
                      </c:pt>
                      <c:pt idx="12">
                        <c:v>124.61734348332566</c:v>
                      </c:pt>
                      <c:pt idx="13">
                        <c:v>116.49012543006529</c:v>
                      </c:pt>
                      <c:pt idx="14">
                        <c:v>94.81754395470430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A119-4CC1-90C0-7BD3D0B4271E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2</c15:sqref>
                        </c15:formulaRef>
                      </c:ext>
                    </c:extLst>
                    <c:strCache>
                      <c:ptCount val="1"/>
                      <c:pt idx="0">
                        <c:v>Jihomoravský kraj</c:v>
                      </c:pt>
                    </c:strCache>
                  </c:strRef>
                </c:tx>
                <c:spPr>
                  <a:ln w="28575" cap="rnd">
                    <a:solidFill>
                      <a:srgbClr val="ED7D31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2:$P$12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273.42834503309041</c:v>
                      </c:pt>
                      <c:pt idx="1">
                        <c:v>398.42415990536028</c:v>
                      </c:pt>
                      <c:pt idx="2">
                        <c:v>284.58868564668592</c:v>
                      </c:pt>
                      <c:pt idx="3">
                        <c:v>315.83763936475339</c:v>
                      </c:pt>
                      <c:pt idx="4">
                        <c:v>301.32919656707924</c:v>
                      </c:pt>
                      <c:pt idx="5">
                        <c:v>291.28489001484326</c:v>
                      </c:pt>
                      <c:pt idx="6">
                        <c:v>333.69418434650623</c:v>
                      </c:pt>
                      <c:pt idx="7">
                        <c:v>444.18155642110196</c:v>
                      </c:pt>
                      <c:pt idx="8">
                        <c:v>478.77861232324813</c:v>
                      </c:pt>
                      <c:pt idx="9">
                        <c:v>416.28070488711313</c:v>
                      </c:pt>
                      <c:pt idx="10">
                        <c:v>383.91571710768613</c:v>
                      </c:pt>
                      <c:pt idx="11">
                        <c:v>354.89883151233778</c:v>
                      </c:pt>
                      <c:pt idx="12">
                        <c:v>293.51695813756237</c:v>
                      </c:pt>
                      <c:pt idx="13">
                        <c:v>223.20681227191054</c:v>
                      </c:pt>
                      <c:pt idx="14">
                        <c:v>195.3059607379217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A119-4CC1-90C0-7BD3D0B4271E}"/>
                  </c:ext>
                </c:extLst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3</c15:sqref>
                        </c15:formulaRef>
                      </c:ext>
                    </c:extLst>
                    <c:strCache>
                      <c:ptCount val="1"/>
                      <c:pt idx="0">
                        <c:v>Olomoucký kraj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3:$P$13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367.987260324087</c:v>
                      </c:pt>
                      <c:pt idx="1">
                        <c:v>402.41881684563901</c:v>
                      </c:pt>
                      <c:pt idx="2">
                        <c:v>344.31556521552</c:v>
                      </c:pt>
                      <c:pt idx="3">
                        <c:v>258.23667391164003</c:v>
                      </c:pt>
                      <c:pt idx="4">
                        <c:v>288.36428586799803</c:v>
                      </c:pt>
                      <c:pt idx="5">
                        <c:v>329.25175923734105</c:v>
                      </c:pt>
                      <c:pt idx="6">
                        <c:v>288.36428586799803</c:v>
                      </c:pt>
                      <c:pt idx="7">
                        <c:v>415.33065054122102</c:v>
                      </c:pt>
                      <c:pt idx="8">
                        <c:v>494.95362499731004</c:v>
                      </c:pt>
                      <c:pt idx="9">
                        <c:v>486.34573586692204</c:v>
                      </c:pt>
                      <c:pt idx="10">
                        <c:v>548.752932062235</c:v>
                      </c:pt>
                      <c:pt idx="11">
                        <c:v>335.70767608513205</c:v>
                      </c:pt>
                      <c:pt idx="12">
                        <c:v>320.64387010695305</c:v>
                      </c:pt>
                      <c:pt idx="13">
                        <c:v>172.15778260776</c:v>
                      </c:pt>
                      <c:pt idx="14">
                        <c:v>288.364285867998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A119-4CC1-90C0-7BD3D0B4271E}"/>
                  </c:ext>
                </c:extLst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4</c15:sqref>
                        </c15:formulaRef>
                      </c:ext>
                    </c:extLst>
                    <c:strCache>
                      <c:ptCount val="1"/>
                      <c:pt idx="0">
                        <c:v>Zlínský kraj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4:$P$14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447.00337681898793</c:v>
                      </c:pt>
                      <c:pt idx="1">
                        <c:v>558.75422102373489</c:v>
                      </c:pt>
                      <c:pt idx="2">
                        <c:v>408.13351796516287</c:v>
                      </c:pt>
                      <c:pt idx="3">
                        <c:v>281.80647669023153</c:v>
                      </c:pt>
                      <c:pt idx="4">
                        <c:v>308.52950465223626</c:v>
                      </c:pt>
                      <c:pt idx="5">
                        <c:v>204.06675898258143</c:v>
                      </c:pt>
                      <c:pt idx="6">
                        <c:v>140.90323834511577</c:v>
                      </c:pt>
                      <c:pt idx="7">
                        <c:v>211.35485751767365</c:v>
                      </c:pt>
                      <c:pt idx="8">
                        <c:v>313.38823700896438</c:v>
                      </c:pt>
                      <c:pt idx="9">
                        <c:v>349.82872968442535</c:v>
                      </c:pt>
                      <c:pt idx="10">
                        <c:v>318.24696936569251</c:v>
                      </c:pt>
                      <c:pt idx="11">
                        <c:v>335.25253261424092</c:v>
                      </c:pt>
                      <c:pt idx="12">
                        <c:v>332.82316643587689</c:v>
                      </c:pt>
                      <c:pt idx="13">
                        <c:v>267.23027962004716</c:v>
                      </c:pt>
                      <c:pt idx="14">
                        <c:v>245.3659840147705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A119-4CC1-90C0-7BD3D0B4271E}"/>
                  </c:ext>
                </c:extLst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5</c15:sqref>
                        </c15:formulaRef>
                      </c:ext>
                    </c:extLst>
                    <c:strCache>
                      <c:ptCount val="1"/>
                      <c:pt idx="0">
                        <c:v>Moravskoslezský kraj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:$P$1</c15:sqref>
                        </c15:formulaRef>
                      </c:ext>
                    </c:extLst>
                    <c:strCache>
                      <c:ptCount val="15"/>
                      <c:pt idx="0">
                        <c:v>29.12 - 4.1</c:v>
                      </c:pt>
                      <c:pt idx="1">
                        <c:v>5.1 - 11.1</c:v>
                      </c:pt>
                      <c:pt idx="2">
                        <c:v>12.1 - 18.1</c:v>
                      </c:pt>
                      <c:pt idx="3">
                        <c:v>19.1 - 25.1</c:v>
                      </c:pt>
                      <c:pt idx="4">
                        <c:v>26.1 - 1.2</c:v>
                      </c:pt>
                      <c:pt idx="5">
                        <c:v>2.2 - 8.2</c:v>
                      </c:pt>
                      <c:pt idx="6">
                        <c:v>9.2 - 15.2</c:v>
                      </c:pt>
                      <c:pt idx="7">
                        <c:v>16.2 - 22.2</c:v>
                      </c:pt>
                      <c:pt idx="8">
                        <c:v>23.2 - 1.3</c:v>
                      </c:pt>
                      <c:pt idx="9">
                        <c:v>2.3 - 8.3</c:v>
                      </c:pt>
                      <c:pt idx="10">
                        <c:v>9.3 - 15.3</c:v>
                      </c:pt>
                      <c:pt idx="11">
                        <c:v>16.3 - 22.3</c:v>
                      </c:pt>
                      <c:pt idx="12">
                        <c:v>23.3 - 29.3</c:v>
                      </c:pt>
                      <c:pt idx="13">
                        <c:v>30.3 - 5.4</c:v>
                      </c:pt>
                      <c:pt idx="14">
                        <c:v>6.4 - 12.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5:$P$15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459.1730247443241</c:v>
                      </c:pt>
                      <c:pt idx="1">
                        <c:v>491.63980427170054</c:v>
                      </c:pt>
                      <c:pt idx="2">
                        <c:v>459.1730247443241</c:v>
                      </c:pt>
                      <c:pt idx="3">
                        <c:v>321.18921175297419</c:v>
                      </c:pt>
                      <c:pt idx="4">
                        <c:v>263.21281973980194</c:v>
                      </c:pt>
                      <c:pt idx="5">
                        <c:v>231.90556805268895</c:v>
                      </c:pt>
                      <c:pt idx="6">
                        <c:v>231.90556805268895</c:v>
                      </c:pt>
                      <c:pt idx="7">
                        <c:v>354.81551912061411</c:v>
                      </c:pt>
                      <c:pt idx="8">
                        <c:v>451.05632986247997</c:v>
                      </c:pt>
                      <c:pt idx="9">
                        <c:v>383.80371512720018</c:v>
                      </c:pt>
                      <c:pt idx="10">
                        <c:v>355.97504696087753</c:v>
                      </c:pt>
                      <c:pt idx="11">
                        <c:v>308.43440551007632</c:v>
                      </c:pt>
                      <c:pt idx="12">
                        <c:v>280.60573734375362</c:v>
                      </c:pt>
                      <c:pt idx="13">
                        <c:v>222.6293453305814</c:v>
                      </c:pt>
                      <c:pt idx="14">
                        <c:v>242.3413186150599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A119-4CC1-90C0-7BD3D0B4271E}"/>
                  </c:ext>
                </c:extLst>
              </c15:ser>
            </c15:filteredLineSeries>
          </c:ext>
        </c:extLst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704294744534864"/>
          <c:y val="1.3161003506896477E-2"/>
          <c:w val="0.21295705255465136"/>
          <c:h val="0.954531638819221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9D9-47D6-8A8A-FE81D4B3A35D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9D9-47D6-8A8A-FE81D4B3A35D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9D9-47D6-8A8A-FE81D4B3A35D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350-49EF-BDD6-68ACED723728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350-49EF-BDD6-68ACED723728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350-49EF-BDD6-68ACED723728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2B3-487A-A200-D8FF409C8D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5E-4AF0-8255-A4C2A217585D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F5E-4AF0-8255-A4C2A217585D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5E-4AF0-8255-A4C2A217585D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F5E-4AF0-8255-A4C2A217585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495.88865924196693</c:v>
                </c:pt>
                <c:pt idx="1">
                  <c:v>494.78525088281208</c:v>
                </c:pt>
                <c:pt idx="2">
                  <c:v>478.38275764512241</c:v>
                </c:pt>
                <c:pt idx="3">
                  <c:v>378.41605849800112</c:v>
                </c:pt>
                <c:pt idx="4">
                  <c:v>314.72036964386893</c:v>
                </c:pt>
                <c:pt idx="5">
                  <c:v>247.5143684188447</c:v>
                </c:pt>
                <c:pt idx="6">
                  <c:v>237.6471035571019</c:v>
                </c:pt>
                <c:pt idx="7">
                  <c:v>194.55693052507741</c:v>
                </c:pt>
                <c:pt idx="8">
                  <c:v>186.08189659603784</c:v>
                </c:pt>
                <c:pt idx="9">
                  <c:v>179.50313532143036</c:v>
                </c:pt>
                <c:pt idx="10">
                  <c:v>175.89772190999184</c:v>
                </c:pt>
                <c:pt idx="11">
                  <c:v>171.5550096987065</c:v>
                </c:pt>
                <c:pt idx="12">
                  <c:v>145.26865506969216</c:v>
                </c:pt>
                <c:pt idx="13">
                  <c:v>-63.418474457662796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800"/>
          <c:min val="-8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0367-4125-AC25-40BEF22F85D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2382.8501908797248</c:v>
                </c:pt>
                <c:pt idx="1">
                  <c:v>2373.3267635706661</c:v>
                </c:pt>
                <c:pt idx="2">
                  <c:v>2300.559832050385</c:v>
                </c:pt>
                <c:pt idx="3">
                  <c:v>2019.2407773630916</c:v>
                </c:pt>
                <c:pt idx="4">
                  <c:v>1944.3944342995294</c:v>
                </c:pt>
                <c:pt idx="5">
                  <c:v>1698.9797072596882</c:v>
                </c:pt>
                <c:pt idx="6">
                  <c:v>1686.9360533542565</c:v>
                </c:pt>
                <c:pt idx="7">
                  <c:v>1368.5573243423953</c:v>
                </c:pt>
                <c:pt idx="8">
                  <c:v>994.81446066713249</c:v>
                </c:pt>
                <c:pt idx="9">
                  <c:v>988.61195079754373</c:v>
                </c:pt>
                <c:pt idx="10">
                  <c:v>946.47678646275017</c:v>
                </c:pt>
                <c:pt idx="11">
                  <c:v>774.14181291058821</c:v>
                </c:pt>
                <c:pt idx="12">
                  <c:v>725.19266669857836</c:v>
                </c:pt>
                <c:pt idx="13">
                  <c:v>572.7401432922905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30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5076772915444E-2"/>
          <c:y val="8.5370627130251772E-2"/>
          <c:w val="0.90354392224409452"/>
          <c:h val="0.849965314347606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d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+</c:v>
                </c:pt>
              </c:strCache>
            </c:strRef>
          </c:cat>
          <c:val>
            <c:numRef>
              <c:f>Sheet1!$B$2:$B$9</c:f>
              <c:numCache>
                <c:formatCode>0.0%</c:formatCode>
                <c:ptCount val="8"/>
                <c:pt idx="0">
                  <c:v>0.27728763714511934</c:v>
                </c:pt>
                <c:pt idx="1">
                  <c:v>0.55683746182558536</c:v>
                </c:pt>
                <c:pt idx="2">
                  <c:v>0.111582400180975</c:v>
                </c:pt>
                <c:pt idx="3">
                  <c:v>3.5403234928175549E-2</c:v>
                </c:pt>
                <c:pt idx="4">
                  <c:v>1.0236398597443729E-2</c:v>
                </c:pt>
                <c:pt idx="5">
                  <c:v>4.3547110055423598E-3</c:v>
                </c:pt>
                <c:pt idx="6">
                  <c:v>1.6966406515100101E-3</c:v>
                </c:pt>
                <c:pt idx="7">
                  <c:v>2.60151566564868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8C-4792-978E-39A2F4D984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úno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+</c:v>
                </c:pt>
              </c:strCache>
            </c:strRef>
          </c:cat>
          <c:val>
            <c:numRef>
              <c:f>Sheet1!$C$2:$C$9</c:f>
              <c:numCache>
                <c:formatCode>0.0%</c:formatCode>
                <c:ptCount val="8"/>
                <c:pt idx="0">
                  <c:v>0.36928487690504103</c:v>
                </c:pt>
                <c:pt idx="1">
                  <c:v>0.41846703511416289</c:v>
                </c:pt>
                <c:pt idx="2">
                  <c:v>0.12108524535253726</c:v>
                </c:pt>
                <c:pt idx="3">
                  <c:v>5.1805950985317928E-2</c:v>
                </c:pt>
                <c:pt idx="4">
                  <c:v>1.9818009267012784E-2</c:v>
                </c:pt>
                <c:pt idx="5">
                  <c:v>7.7597275721543015E-3</c:v>
                </c:pt>
                <c:pt idx="6">
                  <c:v>4.5776810137888686E-3</c:v>
                </c:pt>
                <c:pt idx="7">
                  <c:v>7.201473789984927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8C-4792-978E-39A2F4D984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řeze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+</c:v>
                </c:pt>
              </c:strCache>
            </c:strRef>
          </c:cat>
          <c:val>
            <c:numRef>
              <c:f>Sheet1!$D$2:$D$9</c:f>
              <c:numCache>
                <c:formatCode>0.0%</c:formatCode>
                <c:ptCount val="8"/>
                <c:pt idx="0">
                  <c:v>0.56067474177008247</c:v>
                </c:pt>
                <c:pt idx="1">
                  <c:v>0.31336850709667829</c:v>
                </c:pt>
                <c:pt idx="2">
                  <c:v>8.107304748458051E-2</c:v>
                </c:pt>
                <c:pt idx="3">
                  <c:v>3.0244482425503455E-2</c:v>
                </c:pt>
                <c:pt idx="4">
                  <c:v>1.0106264397711229E-2</c:v>
                </c:pt>
                <c:pt idx="5">
                  <c:v>2.2293230289068887E-3</c:v>
                </c:pt>
                <c:pt idx="6">
                  <c:v>9.6603997919298508E-4</c:v>
                </c:pt>
                <c:pt idx="7">
                  <c:v>1.337593817344133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8C-4792-978E-39A2F4D98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278974031"/>
        <c:axId val="1272203103"/>
      </c:barChart>
      <c:catAx>
        <c:axId val="1278974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72203103"/>
        <c:crosses val="autoZero"/>
        <c:auto val="1"/>
        <c:lblAlgn val="ctr"/>
        <c:lblOffset val="100"/>
        <c:noMultiLvlLbl val="0"/>
      </c:catAx>
      <c:valAx>
        <c:axId val="1272203103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789740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6795469905311101"/>
          <c:y val="4.6874997116449491E-2"/>
          <c:w val="0.19522331428805995"/>
          <c:h val="5.0352236075772883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D$1</c:f>
              <c:strCache>
                <c:ptCount val="4"/>
                <c:pt idx="0">
                  <c:v>I-21</c:v>
                </c:pt>
                <c:pt idx="1">
                  <c:v>II-21</c:v>
                </c:pt>
                <c:pt idx="2">
                  <c:v>III-21</c:v>
                </c:pt>
                <c:pt idx="3">
                  <c:v>1.4.-11.4.</c:v>
                </c:pt>
              </c:strCache>
            </c:strRef>
          </c:cat>
          <c:val>
            <c:numRef>
              <c:f>Sheet1!$A$2:$D$2</c:f>
              <c:numCache>
                <c:formatCode>0.0%</c:formatCode>
                <c:ptCount val="4"/>
                <c:pt idx="0">
                  <c:v>0.20899999999999999</c:v>
                </c:pt>
                <c:pt idx="1">
                  <c:v>0.27100000000000002</c:v>
                </c:pt>
                <c:pt idx="2">
                  <c:v>0.183</c:v>
                </c:pt>
                <c:pt idx="3">
                  <c:v>0.16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D5-45A0-9005-7F181E88E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34457247"/>
        <c:axId val="133748783"/>
      </c:barChart>
      <c:catAx>
        <c:axId val="134457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3748783"/>
        <c:crosses val="autoZero"/>
        <c:auto val="1"/>
        <c:lblAlgn val="ctr"/>
        <c:lblOffset val="100"/>
        <c:noMultiLvlLbl val="0"/>
      </c:catAx>
      <c:valAx>
        <c:axId val="133748783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4572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685039370078002</c:v>
                </c:pt>
                <c:pt idx="1">
                  <c:v>21.296847114812</c:v>
                </c:pt>
                <c:pt idx="2">
                  <c:v>20.498866213151</c:v>
                </c:pt>
                <c:pt idx="3">
                  <c:v>19.577464788732001</c:v>
                </c:pt>
                <c:pt idx="4">
                  <c:v>24.373259052923999</c:v>
                </c:pt>
                <c:pt idx="5">
                  <c:v>23.720136518771</c:v>
                </c:pt>
                <c:pt idx="6">
                  <c:v>21.413721413720999</c:v>
                </c:pt>
                <c:pt idx="7">
                  <c:v>18.768768768767998</c:v>
                </c:pt>
                <c:pt idx="8">
                  <c:v>18.867924528301</c:v>
                </c:pt>
                <c:pt idx="9">
                  <c:v>18.688981868898001</c:v>
                </c:pt>
                <c:pt idx="10">
                  <c:v>13.291139240506</c:v>
                </c:pt>
                <c:pt idx="11">
                  <c:v>11.182108626198</c:v>
                </c:pt>
                <c:pt idx="12">
                  <c:v>10.235131396957</c:v>
                </c:pt>
                <c:pt idx="13">
                  <c:v>6.0478199718700001</c:v>
                </c:pt>
                <c:pt idx="14">
                  <c:v>2.7496382054990001</c:v>
                </c:pt>
                <c:pt idx="15">
                  <c:v>1.7496635262439999</c:v>
                </c:pt>
                <c:pt idx="16">
                  <c:v>2.127659574467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232922732361999</c:v>
                </c:pt>
                <c:pt idx="1">
                  <c:v>20.469569181672998</c:v>
                </c:pt>
                <c:pt idx="2">
                  <c:v>19.909757473209002</c:v>
                </c:pt>
                <c:pt idx="3">
                  <c:v>21.625846795205</c:v>
                </c:pt>
                <c:pt idx="4">
                  <c:v>27.827311121539001</c:v>
                </c:pt>
                <c:pt idx="5">
                  <c:v>27.226137091607001</c:v>
                </c:pt>
                <c:pt idx="6">
                  <c:v>23.952513966480002</c:v>
                </c:pt>
                <c:pt idx="7">
                  <c:v>21.037181996086002</c:v>
                </c:pt>
                <c:pt idx="8">
                  <c:v>20.675784392598</c:v>
                </c:pt>
                <c:pt idx="9">
                  <c:v>16.53429602888</c:v>
                </c:pt>
                <c:pt idx="10">
                  <c:v>12.563775510204</c:v>
                </c:pt>
                <c:pt idx="11">
                  <c:v>8.7160262417989998</c:v>
                </c:pt>
                <c:pt idx="12">
                  <c:v>6.5420560747660002</c:v>
                </c:pt>
                <c:pt idx="13">
                  <c:v>4.117422798322</c:v>
                </c:pt>
                <c:pt idx="14">
                  <c:v>1.290077784101</c:v>
                </c:pt>
                <c:pt idx="15">
                  <c:v>0.95863660571599996</c:v>
                </c:pt>
                <c:pt idx="16">
                  <c:v>0.3723328082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8.650036683785</c:v>
                </c:pt>
                <c:pt idx="1">
                  <c:v>26.348182883939</c:v>
                </c:pt>
                <c:pt idx="2">
                  <c:v>32.725377800936997</c:v>
                </c:pt>
                <c:pt idx="3">
                  <c:v>30.693069306929999</c:v>
                </c:pt>
                <c:pt idx="4">
                  <c:v>31.407368142062001</c:v>
                </c:pt>
                <c:pt idx="5">
                  <c:v>27.357901311679999</c:v>
                </c:pt>
                <c:pt idx="6">
                  <c:v>25.182622068434998</c:v>
                </c:pt>
                <c:pt idx="7">
                  <c:v>18.480392156861999</c:v>
                </c:pt>
                <c:pt idx="8">
                  <c:v>17.699473471040001</c:v>
                </c:pt>
                <c:pt idx="9">
                  <c:v>16.152784169351001</c:v>
                </c:pt>
                <c:pt idx="10">
                  <c:v>14.307228915662</c:v>
                </c:pt>
                <c:pt idx="11">
                  <c:v>9.4974446337299998</c:v>
                </c:pt>
                <c:pt idx="12">
                  <c:v>4.7574334898270001</c:v>
                </c:pt>
                <c:pt idx="13">
                  <c:v>2.7549263439830001</c:v>
                </c:pt>
                <c:pt idx="14">
                  <c:v>1.609952433223</c:v>
                </c:pt>
                <c:pt idx="15">
                  <c:v>0.98113207547100001</c:v>
                </c:pt>
                <c:pt idx="16">
                  <c:v>0.68441877874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3.018065887353</c:v>
                </c:pt>
                <c:pt idx="1">
                  <c:v>24.740453985571001</c:v>
                </c:pt>
                <c:pt idx="2">
                  <c:v>25.817633760361002</c:v>
                </c:pt>
                <c:pt idx="3">
                  <c:v>29.472417941227</c:v>
                </c:pt>
                <c:pt idx="4">
                  <c:v>37.734414597060002</c:v>
                </c:pt>
                <c:pt idx="5">
                  <c:v>37.559101654846003</c:v>
                </c:pt>
                <c:pt idx="6">
                  <c:v>38.542766631467003</c:v>
                </c:pt>
                <c:pt idx="7">
                  <c:v>35.037593984962001</c:v>
                </c:pt>
                <c:pt idx="8">
                  <c:v>30.717380837745999</c:v>
                </c:pt>
                <c:pt idx="9">
                  <c:v>28.936170212764999</c:v>
                </c:pt>
                <c:pt idx="10">
                  <c:v>25.171767645220999</c:v>
                </c:pt>
                <c:pt idx="11">
                  <c:v>23.75</c:v>
                </c:pt>
                <c:pt idx="12">
                  <c:v>23.282442748091</c:v>
                </c:pt>
                <c:pt idx="13">
                  <c:v>17.983446200149999</c:v>
                </c:pt>
                <c:pt idx="14">
                  <c:v>12.542372881355</c:v>
                </c:pt>
                <c:pt idx="15">
                  <c:v>8.9197224975220006</c:v>
                </c:pt>
                <c:pt idx="16">
                  <c:v>7.032181168056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526.6354415254774</c:v>
                </c:pt>
                <c:pt idx="1">
                  <c:v>652.28417739137001</c:v>
                </c:pt>
                <c:pt idx="2">
                  <c:v>849.5592942105867</c:v>
                </c:pt>
                <c:pt idx="3">
                  <c:v>901.27112070530609</c:v>
                </c:pt>
                <c:pt idx="4">
                  <c:v>817.32192152345317</c:v>
                </c:pt>
                <c:pt idx="5">
                  <c:v>692.82844986648513</c:v>
                </c:pt>
                <c:pt idx="6">
                  <c:v>535.38244196447772</c:v>
                </c:pt>
                <c:pt idx="7">
                  <c:v>397.0808123817921</c:v>
                </c:pt>
                <c:pt idx="8">
                  <c:v>305.20980148159913</c:v>
                </c:pt>
                <c:pt idx="9">
                  <c:v>219.7752626025574</c:v>
                </c:pt>
                <c:pt idx="10">
                  <c:v>183.02685824248022</c:v>
                </c:pt>
                <c:pt idx="11">
                  <c:v>150.62444781121457</c:v>
                </c:pt>
                <c:pt idx="12">
                  <c:v>111.4554898705335</c:v>
                </c:pt>
                <c:pt idx="13">
                  <c:v>82.518872066041581</c:v>
                </c:pt>
                <c:pt idx="14">
                  <c:v>52.096914564360915</c:v>
                </c:pt>
                <c:pt idx="15">
                  <c:v>33.832737547077045</c:v>
                </c:pt>
                <c:pt idx="16">
                  <c:v>27.176215200416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600.85789396481152</c:v>
                </c:pt>
                <c:pt idx="1">
                  <c:v>739.51740795669105</c:v>
                </c:pt>
                <c:pt idx="2">
                  <c:v>930.287911238932</c:v>
                </c:pt>
                <c:pt idx="3">
                  <c:v>965.91158449433078</c:v>
                </c:pt>
                <c:pt idx="4">
                  <c:v>864.69448845235422</c:v>
                </c:pt>
                <c:pt idx="5">
                  <c:v>712.82930646124805</c:v>
                </c:pt>
                <c:pt idx="6">
                  <c:v>522.13787903528987</c:v>
                </c:pt>
                <c:pt idx="7">
                  <c:v>382.48991683987538</c:v>
                </c:pt>
                <c:pt idx="8">
                  <c:v>293.9249578031459</c:v>
                </c:pt>
                <c:pt idx="9">
                  <c:v>222.75668714863116</c:v>
                </c:pt>
                <c:pt idx="10">
                  <c:v>184.76073820474858</c:v>
                </c:pt>
                <c:pt idx="11">
                  <c:v>156.80742300878083</c:v>
                </c:pt>
                <c:pt idx="12">
                  <c:v>114.18553647235478</c:v>
                </c:pt>
                <c:pt idx="13">
                  <c:v>86.074069563821453</c:v>
                </c:pt>
                <c:pt idx="14">
                  <c:v>52.822671996906507</c:v>
                </c:pt>
                <c:pt idx="15">
                  <c:v>35.544597399115979</c:v>
                </c:pt>
                <c:pt idx="16">
                  <c:v>25.106584369787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579.77698019565128</c:v>
                </c:pt>
                <c:pt idx="1">
                  <c:v>697.68577557757339</c:v>
                </c:pt>
                <c:pt idx="2">
                  <c:v>875.40483949652514</c:v>
                </c:pt>
                <c:pt idx="3">
                  <c:v>920.11150486763825</c:v>
                </c:pt>
                <c:pt idx="4">
                  <c:v>872.23308283168274</c:v>
                </c:pt>
                <c:pt idx="5">
                  <c:v>741.53657010261782</c:v>
                </c:pt>
                <c:pt idx="6">
                  <c:v>559.99126004830055</c:v>
                </c:pt>
                <c:pt idx="7">
                  <c:v>405.58209034874665</c:v>
                </c:pt>
                <c:pt idx="8">
                  <c:v>320.59914986852266</c:v>
                </c:pt>
                <c:pt idx="9">
                  <c:v>221.62020378788267</c:v>
                </c:pt>
                <c:pt idx="10">
                  <c:v>184.36464931195511</c:v>
                </c:pt>
                <c:pt idx="11">
                  <c:v>152.9491547268486</c:v>
                </c:pt>
                <c:pt idx="12">
                  <c:v>113.22667840048798</c:v>
                </c:pt>
                <c:pt idx="13">
                  <c:v>76.273195987878751</c:v>
                </c:pt>
                <c:pt idx="14">
                  <c:v>47.274277909318904</c:v>
                </c:pt>
                <c:pt idx="15">
                  <c:v>25.424398662626249</c:v>
                </c:pt>
                <c:pt idx="16">
                  <c:v>15.909128668098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351.50104940108781</c:v>
                </c:pt>
                <c:pt idx="1">
                  <c:v>416.82288506062577</c:v>
                </c:pt>
                <c:pt idx="2">
                  <c:v>524.89380370208619</c:v>
                </c:pt>
                <c:pt idx="3">
                  <c:v>579.62499855055114</c:v>
                </c:pt>
                <c:pt idx="4">
                  <c:v>526.43988265260782</c:v>
                </c:pt>
                <c:pt idx="5">
                  <c:v>468.3846180605214</c:v>
                </c:pt>
                <c:pt idx="6">
                  <c:v>367.19375074888211</c:v>
                </c:pt>
                <c:pt idx="7">
                  <c:v>283.3962716306109</c:v>
                </c:pt>
                <c:pt idx="8">
                  <c:v>208.79796226794329</c:v>
                </c:pt>
                <c:pt idx="9">
                  <c:v>156.61779768783899</c:v>
                </c:pt>
                <c:pt idx="10">
                  <c:v>120.36224629810725</c:v>
                </c:pt>
                <c:pt idx="11">
                  <c:v>99.567484413591615</c:v>
                </c:pt>
                <c:pt idx="12">
                  <c:v>74.675613310193711</c:v>
                </c:pt>
                <c:pt idx="13">
                  <c:v>48.083055361222037</c:v>
                </c:pt>
                <c:pt idx="14">
                  <c:v>25.664910578658709</c:v>
                </c:pt>
                <c:pt idx="15">
                  <c:v>15.847309242846492</c:v>
                </c:pt>
                <c:pt idx="16">
                  <c:v>9.8176013358122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383.24234122445563</c:v>
                </c:pt>
                <c:pt idx="1">
                  <c:v>444.9959351332846</c:v>
                </c:pt>
                <c:pt idx="2">
                  <c:v>532.76930175650784</c:v>
                </c:pt>
                <c:pt idx="3">
                  <c:v>557.17006639089527</c:v>
                </c:pt>
                <c:pt idx="4">
                  <c:v>489.63430076775649</c:v>
                </c:pt>
                <c:pt idx="5">
                  <c:v>439.56069372183333</c:v>
                </c:pt>
                <c:pt idx="6">
                  <c:v>340.80120084142146</c:v>
                </c:pt>
                <c:pt idx="7">
                  <c:v>252.10268674390863</c:v>
                </c:pt>
                <c:pt idx="8">
                  <c:v>181.90712213218728</c:v>
                </c:pt>
                <c:pt idx="9">
                  <c:v>144.66993629203196</c:v>
                </c:pt>
                <c:pt idx="10">
                  <c:v>98.181275708980934</c:v>
                </c:pt>
                <c:pt idx="11">
                  <c:v>80.256543394620451</c:v>
                </c:pt>
                <c:pt idx="12">
                  <c:v>54.699344417371002</c:v>
                </c:pt>
                <c:pt idx="13">
                  <c:v>37.237185840155313</c:v>
                </c:pt>
                <c:pt idx="14">
                  <c:v>28.216997965831975</c:v>
                </c:pt>
                <c:pt idx="15">
                  <c:v>16.883941405784707</c:v>
                </c:pt>
                <c:pt idx="16">
                  <c:v>10.523552520043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95.5719036193708</c:v>
                </c:pt>
                <c:pt idx="1">
                  <c:v>608.22609179765186</c:v>
                </c:pt>
                <c:pt idx="2">
                  <c:v>768.92837516610541</c:v>
                </c:pt>
                <c:pt idx="3">
                  <c:v>802.418140463962</c:v>
                </c:pt>
                <c:pt idx="4">
                  <c:v>725.89813822508154</c:v>
                </c:pt>
                <c:pt idx="5">
                  <c:v>615.23427370987065</c:v>
                </c:pt>
                <c:pt idx="6">
                  <c:v>467.65130688109076</c:v>
                </c:pt>
                <c:pt idx="7">
                  <c:v>343.9428797666032</c:v>
                </c:pt>
                <c:pt idx="8">
                  <c:v>264.23649081830052</c:v>
                </c:pt>
                <c:pt idx="9">
                  <c:v>202.20940877388864</c:v>
                </c:pt>
                <c:pt idx="10">
                  <c:v>163.29998279724944</c:v>
                </c:pt>
                <c:pt idx="11">
                  <c:v>137.28561153909297</c:v>
                </c:pt>
                <c:pt idx="12">
                  <c:v>102.29142319074671</c:v>
                </c:pt>
                <c:pt idx="13">
                  <c:v>72.4365682446943</c:v>
                </c:pt>
                <c:pt idx="14">
                  <c:v>47.113670935210095</c:v>
                </c:pt>
                <c:pt idx="15">
                  <c:v>30.5182961670758</c:v>
                </c:pt>
                <c:pt idx="16">
                  <c:v>21.98700271926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9.683561276481001</c:v>
                </c:pt>
                <c:pt idx="1">
                  <c:v>19.991544681074998</c:v>
                </c:pt>
                <c:pt idx="2">
                  <c:v>20.869068038879</c:v>
                </c:pt>
                <c:pt idx="3">
                  <c:v>22.998962085597</c:v>
                </c:pt>
                <c:pt idx="4">
                  <c:v>29.70464135021</c:v>
                </c:pt>
                <c:pt idx="5">
                  <c:v>29.142725810158002</c:v>
                </c:pt>
                <c:pt idx="6">
                  <c:v>28.630175836642</c:v>
                </c:pt>
                <c:pt idx="7">
                  <c:v>26.217382371069998</c:v>
                </c:pt>
                <c:pt idx="8">
                  <c:v>21.207508878740999</c:v>
                </c:pt>
                <c:pt idx="9">
                  <c:v>17.011673151749999</c:v>
                </c:pt>
                <c:pt idx="10">
                  <c:v>10.792220113851</c:v>
                </c:pt>
                <c:pt idx="11">
                  <c:v>8.101345010947</c:v>
                </c:pt>
                <c:pt idx="12">
                  <c:v>8.3037241742330004</c:v>
                </c:pt>
                <c:pt idx="13">
                  <c:v>4.1466522889909996</c:v>
                </c:pt>
                <c:pt idx="14">
                  <c:v>2.807365205185</c:v>
                </c:pt>
                <c:pt idx="15">
                  <c:v>2.1415441176469998</c:v>
                </c:pt>
                <c:pt idx="16">
                  <c:v>1.253196930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7.856315179606</c:v>
                </c:pt>
                <c:pt idx="1">
                  <c:v>30.356968215157998</c:v>
                </c:pt>
                <c:pt idx="2">
                  <c:v>30.181021186784001</c:v>
                </c:pt>
                <c:pt idx="3">
                  <c:v>29.295993776740001</c:v>
                </c:pt>
                <c:pt idx="4">
                  <c:v>29.249489834479</c:v>
                </c:pt>
                <c:pt idx="5">
                  <c:v>26.807084729534999</c:v>
                </c:pt>
                <c:pt idx="6">
                  <c:v>23.521139964376001</c:v>
                </c:pt>
                <c:pt idx="7">
                  <c:v>21.653971708377998</c:v>
                </c:pt>
                <c:pt idx="8">
                  <c:v>18.269657929808002</c:v>
                </c:pt>
                <c:pt idx="9">
                  <c:v>15.080267981291</c:v>
                </c:pt>
                <c:pt idx="10">
                  <c:v>11.418284685611001</c:v>
                </c:pt>
                <c:pt idx="11">
                  <c:v>8.1850922187049999</c:v>
                </c:pt>
                <c:pt idx="12">
                  <c:v>5.825428763054</c:v>
                </c:pt>
                <c:pt idx="13">
                  <c:v>2.9612756264229998</c:v>
                </c:pt>
                <c:pt idx="14">
                  <c:v>1.7718056959390001</c:v>
                </c:pt>
                <c:pt idx="15">
                  <c:v>1.5103514329909999</c:v>
                </c:pt>
                <c:pt idx="16">
                  <c:v>1.313596052542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2.557215812369002</c:v>
                </c:pt>
                <c:pt idx="1">
                  <c:v>41.861610440778001</c:v>
                </c:pt>
                <c:pt idx="2">
                  <c:v>41.384610836855003</c:v>
                </c:pt>
                <c:pt idx="3">
                  <c:v>30.619163222009998</c:v>
                </c:pt>
                <c:pt idx="4">
                  <c:v>28.480439116587998</c:v>
                </c:pt>
                <c:pt idx="5">
                  <c:v>28.017796904592998</c:v>
                </c:pt>
                <c:pt idx="6">
                  <c:v>27.108161564642</c:v>
                </c:pt>
                <c:pt idx="7">
                  <c:v>26.505201645822002</c:v>
                </c:pt>
                <c:pt idx="8">
                  <c:v>24.337025847599001</c:v>
                </c:pt>
                <c:pt idx="9">
                  <c:v>23.151071263205999</c:v>
                </c:pt>
                <c:pt idx="10">
                  <c:v>19.594396002743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9.6581031485410005</c:v>
                </c:pt>
                <c:pt idx="14">
                  <c:v>5.020584396022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6.07906184981999</c:v>
                </c:pt>
                <c:pt idx="1">
                  <c:v>327.50554050726402</c:v>
                </c:pt>
                <c:pt idx="2">
                  <c:v>384.28567205651899</c:v>
                </c:pt>
                <c:pt idx="3">
                  <c:v>310.565798394681</c:v>
                </c:pt>
                <c:pt idx="4">
                  <c:v>396.13701680345901</c:v>
                </c:pt>
                <c:pt idx="5">
                  <c:v>288.02295217922398</c:v>
                </c:pt>
                <c:pt idx="6">
                  <c:v>255.01751990441801</c:v>
                </c:pt>
                <c:pt idx="7">
                  <c:v>328.68950531541799</c:v>
                </c:pt>
                <c:pt idx="8">
                  <c:v>349.11043974488001</c:v>
                </c:pt>
                <c:pt idx="9">
                  <c:v>441.974996843035</c:v>
                </c:pt>
                <c:pt idx="10">
                  <c:v>463.73403873158901</c:v>
                </c:pt>
                <c:pt idx="11">
                  <c:v>318.62802520909901</c:v>
                </c:pt>
                <c:pt idx="12">
                  <c:v>443.92075192502602</c:v>
                </c:pt>
                <c:pt idx="13">
                  <c:v>96.581031485416005</c:v>
                </c:pt>
                <c:pt idx="14">
                  <c:v>225.9262978210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35.24683185171099</c:v>
                </c:pt>
                <c:pt idx="1">
                  <c:v>312.73085446934198</c:v>
                </c:pt>
                <c:pt idx="2">
                  <c:v>224.65931597150299</c:v>
                </c:pt>
                <c:pt idx="3">
                  <c:v>251.514555037945</c:v>
                </c:pt>
                <c:pt idx="4">
                  <c:v>346.94353105662401</c:v>
                </c:pt>
                <c:pt idx="5">
                  <c:v>209.57312084636101</c:v>
                </c:pt>
                <c:pt idx="6">
                  <c:v>159.63695143622999</c:v>
                </c:pt>
                <c:pt idx="7">
                  <c:v>225.79431213375599</c:v>
                </c:pt>
                <c:pt idx="8">
                  <c:v>192.178583417254</c:v>
                </c:pt>
                <c:pt idx="9">
                  <c:v>345.16142610598899</c:v>
                </c:pt>
                <c:pt idx="10">
                  <c:v>262.89147970347102</c:v>
                </c:pt>
                <c:pt idx="11">
                  <c:v>156.971159478012</c:v>
                </c:pt>
                <c:pt idx="12">
                  <c:v>350.75219905187203</c:v>
                </c:pt>
                <c:pt idx="13">
                  <c:v>96.581031485416005</c:v>
                </c:pt>
                <c:pt idx="14">
                  <c:v>100.411687920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89.14318138831001</c:v>
                </c:pt>
                <c:pt idx="1">
                  <c:v>216.695395222851</c:v>
                </c:pt>
                <c:pt idx="2">
                  <c:v>94.593396198527003</c:v>
                </c:pt>
                <c:pt idx="3">
                  <c:v>131.224985237189</c:v>
                </c:pt>
                <c:pt idx="4">
                  <c:v>150.169588069285</c:v>
                </c:pt>
                <c:pt idx="5">
                  <c:v>187.15888332268599</c:v>
                </c:pt>
                <c:pt idx="6">
                  <c:v>117.468700113452</c:v>
                </c:pt>
                <c:pt idx="7">
                  <c:v>146.77880534054799</c:v>
                </c:pt>
                <c:pt idx="8">
                  <c:v>125.88116817724</c:v>
                </c:pt>
                <c:pt idx="9">
                  <c:v>212.56892705307899</c:v>
                </c:pt>
                <c:pt idx="10">
                  <c:v>189.41249469318399</c:v>
                </c:pt>
                <c:pt idx="11">
                  <c:v>74.971300049199002</c:v>
                </c:pt>
                <c:pt idx="12">
                  <c:v>189.07735730140001</c:v>
                </c:pt>
                <c:pt idx="13">
                  <c:v>24.145257871354001</c:v>
                </c:pt>
                <c:pt idx="14">
                  <c:v>47.69555176222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2.557215812369002</c:v>
                </c:pt>
                <c:pt idx="1">
                  <c:v>41.861610440778001</c:v>
                </c:pt>
                <c:pt idx="2">
                  <c:v>41.384610836855003</c:v>
                </c:pt>
                <c:pt idx="3">
                  <c:v>30.619163222009998</c:v>
                </c:pt>
                <c:pt idx="4">
                  <c:v>28.480439116587998</c:v>
                </c:pt>
                <c:pt idx="5">
                  <c:v>28.017796904592998</c:v>
                </c:pt>
                <c:pt idx="6">
                  <c:v>27.108161564642</c:v>
                </c:pt>
                <c:pt idx="7">
                  <c:v>26.505201645822002</c:v>
                </c:pt>
                <c:pt idx="8">
                  <c:v>24.337025847599001</c:v>
                </c:pt>
                <c:pt idx="9">
                  <c:v>23.151071263205999</c:v>
                </c:pt>
                <c:pt idx="10">
                  <c:v>19.594396002743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9.6581031485410005</c:v>
                </c:pt>
                <c:pt idx="14">
                  <c:v>5.020584396022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9.888625800227999</c:v>
                </c:pt>
                <c:pt idx="1">
                  <c:v>89.577815859167998</c:v>
                </c:pt>
                <c:pt idx="2">
                  <c:v>66.364340227849993</c:v>
                </c:pt>
                <c:pt idx="3">
                  <c:v>46.191316032585</c:v>
                </c:pt>
                <c:pt idx="4">
                  <c:v>41.950939480248998</c:v>
                </c:pt>
                <c:pt idx="5">
                  <c:v>39.734973656305002</c:v>
                </c:pt>
                <c:pt idx="6">
                  <c:v>36.618655540512997</c:v>
                </c:pt>
                <c:pt idx="7">
                  <c:v>34.917344099513997</c:v>
                </c:pt>
                <c:pt idx="8">
                  <c:v>32.834158945879999</c:v>
                </c:pt>
                <c:pt idx="9">
                  <c:v>32.162295893122</c:v>
                </c:pt>
                <c:pt idx="10">
                  <c:v>31.959730739268</c:v>
                </c:pt>
                <c:pt idx="11">
                  <c:v>26.376468786427001</c:v>
                </c:pt>
                <c:pt idx="12">
                  <c:v>21.625258301696</c:v>
                </c:pt>
                <c:pt idx="13">
                  <c:v>12.564392511622</c:v>
                </c:pt>
                <c:pt idx="14">
                  <c:v>2.267985122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39.82285363500802</c:v>
                </c:pt>
                <c:pt idx="1">
                  <c:v>537.46689515500805</c:v>
                </c:pt>
                <c:pt idx="2">
                  <c:v>522.61917929432502</c:v>
                </c:pt>
                <c:pt idx="3">
                  <c:v>341.18585705887199</c:v>
                </c:pt>
                <c:pt idx="4">
                  <c:v>355.47901349053802</c:v>
                </c:pt>
                <c:pt idx="5">
                  <c:v>411.70177182398902</c:v>
                </c:pt>
                <c:pt idx="6">
                  <c:v>346.21274329212798</c:v>
                </c:pt>
                <c:pt idx="7">
                  <c:v>340.44410497026502</c:v>
                </c:pt>
                <c:pt idx="8">
                  <c:v>612.42844294707902</c:v>
                </c:pt>
                <c:pt idx="9">
                  <c:v>482.434438396833</c:v>
                </c:pt>
                <c:pt idx="10">
                  <c:v>449.43371352096301</c:v>
                </c:pt>
                <c:pt idx="11">
                  <c:v>451.80338469654203</c:v>
                </c:pt>
                <c:pt idx="12">
                  <c:v>521.40900571867905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97.316495659037</c:v>
                </c:pt>
                <c:pt idx="1">
                  <c:v>368.04798255179901</c:v>
                </c:pt>
                <c:pt idx="2">
                  <c:v>345.64760535339002</c:v>
                </c:pt>
                <c:pt idx="3">
                  <c:v>293.94473838918202</c:v>
                </c:pt>
                <c:pt idx="4">
                  <c:v>357.68695767371003</c:v>
                </c:pt>
                <c:pt idx="5">
                  <c:v>289.29433059023597</c:v>
                </c:pt>
                <c:pt idx="6">
                  <c:v>250.78230764109199</c:v>
                </c:pt>
                <c:pt idx="7">
                  <c:v>200.77472857220701</c:v>
                </c:pt>
                <c:pt idx="8">
                  <c:v>362.60332053276898</c:v>
                </c:pt>
                <c:pt idx="9">
                  <c:v>452.74616526471999</c:v>
                </c:pt>
                <c:pt idx="10">
                  <c:v>335.57717276231898</c:v>
                </c:pt>
                <c:pt idx="11">
                  <c:v>265.46639552791203</c:v>
                </c:pt>
                <c:pt idx="12">
                  <c:v>394.060262386467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00.85065333684101</c:v>
                </c:pt>
                <c:pt idx="1">
                  <c:v>198.62906994859</c:v>
                </c:pt>
                <c:pt idx="2">
                  <c:v>116.13759539873899</c:v>
                </c:pt>
                <c:pt idx="3">
                  <c:v>149.071974468799</c:v>
                </c:pt>
                <c:pt idx="4">
                  <c:v>223.00236250027501</c:v>
                </c:pt>
                <c:pt idx="5">
                  <c:v>148.620662660748</c:v>
                </c:pt>
                <c:pt idx="6">
                  <c:v>175.32568410306399</c:v>
                </c:pt>
                <c:pt idx="7">
                  <c:v>106.93436630476199</c:v>
                </c:pt>
                <c:pt idx="8">
                  <c:v>209.85310282802001</c:v>
                </c:pt>
                <c:pt idx="9">
                  <c:v>239.98020781791101</c:v>
                </c:pt>
                <c:pt idx="10">
                  <c:v>155.80368735393401</c:v>
                </c:pt>
                <c:pt idx="11">
                  <c:v>124.22465944575301</c:v>
                </c:pt>
                <c:pt idx="12">
                  <c:v>153.77961458984001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9.888625800227999</c:v>
                </c:pt>
                <c:pt idx="1">
                  <c:v>89.577815859167998</c:v>
                </c:pt>
                <c:pt idx="2">
                  <c:v>66.364340227849993</c:v>
                </c:pt>
                <c:pt idx="3">
                  <c:v>46.191316032585</c:v>
                </c:pt>
                <c:pt idx="4">
                  <c:v>41.950939480248998</c:v>
                </c:pt>
                <c:pt idx="5">
                  <c:v>39.734973656305002</c:v>
                </c:pt>
                <c:pt idx="6">
                  <c:v>36.618655540512997</c:v>
                </c:pt>
                <c:pt idx="7">
                  <c:v>34.917344099513997</c:v>
                </c:pt>
                <c:pt idx="8">
                  <c:v>32.834158945879999</c:v>
                </c:pt>
                <c:pt idx="9">
                  <c:v>32.162295893122</c:v>
                </c:pt>
                <c:pt idx="10">
                  <c:v>31.959730739268</c:v>
                </c:pt>
                <c:pt idx="11">
                  <c:v>26.376468786427001</c:v>
                </c:pt>
                <c:pt idx="12">
                  <c:v>21.625258301696</c:v>
                </c:pt>
                <c:pt idx="13">
                  <c:v>12.564392511622</c:v>
                </c:pt>
                <c:pt idx="14">
                  <c:v>2.267985122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77837267334037241"/>
          <c:h val="0.76254158581350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ateřská škola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2:$AO$2</c:f>
              <c:numCache>
                <c:formatCode>General</c:formatCode>
                <c:ptCount val="40"/>
                <c:pt idx="0">
                  <c:v>9</c:v>
                </c:pt>
                <c:pt idx="1">
                  <c:v>41</c:v>
                </c:pt>
                <c:pt idx="2">
                  <c:v>55</c:v>
                </c:pt>
                <c:pt idx="3">
                  <c:v>29</c:v>
                </c:pt>
                <c:pt idx="4">
                  <c:v>28</c:v>
                </c:pt>
                <c:pt idx="5">
                  <c:v>39</c:v>
                </c:pt>
                <c:pt idx="6">
                  <c:v>57</c:v>
                </c:pt>
                <c:pt idx="7">
                  <c:v>54</c:v>
                </c:pt>
                <c:pt idx="8">
                  <c:v>129</c:v>
                </c:pt>
                <c:pt idx="9">
                  <c:v>64</c:v>
                </c:pt>
                <c:pt idx="10">
                  <c:v>81</c:v>
                </c:pt>
                <c:pt idx="11">
                  <c:v>127</c:v>
                </c:pt>
                <c:pt idx="12">
                  <c:v>77</c:v>
                </c:pt>
                <c:pt idx="13">
                  <c:v>88</c:v>
                </c:pt>
                <c:pt idx="14">
                  <c:v>177</c:v>
                </c:pt>
                <c:pt idx="15">
                  <c:v>160</c:v>
                </c:pt>
                <c:pt idx="16">
                  <c:v>24</c:v>
                </c:pt>
                <c:pt idx="17">
                  <c:v>119</c:v>
                </c:pt>
                <c:pt idx="18">
                  <c:v>21</c:v>
                </c:pt>
                <c:pt idx="19">
                  <c:v>180</c:v>
                </c:pt>
                <c:pt idx="20">
                  <c:v>206</c:v>
                </c:pt>
                <c:pt idx="21">
                  <c:v>216</c:v>
                </c:pt>
                <c:pt idx="22">
                  <c:v>239</c:v>
                </c:pt>
                <c:pt idx="23">
                  <c:v>473</c:v>
                </c:pt>
                <c:pt idx="24">
                  <c:v>932</c:v>
                </c:pt>
                <c:pt idx="25">
                  <c:v>770</c:v>
                </c:pt>
                <c:pt idx="26">
                  <c:v>405</c:v>
                </c:pt>
                <c:pt idx="27">
                  <c:v>115</c:v>
                </c:pt>
                <c:pt idx="28">
                  <c:v>162</c:v>
                </c:pt>
                <c:pt idx="29">
                  <c:v>5</c:v>
                </c:pt>
                <c:pt idx="30">
                  <c:v>14</c:v>
                </c:pt>
                <c:pt idx="31">
                  <c:v>0</c:v>
                </c:pt>
                <c:pt idx="32">
                  <c:v>9</c:v>
                </c:pt>
                <c:pt idx="33">
                  <c:v>37</c:v>
                </c:pt>
                <c:pt idx="34">
                  <c:v>46</c:v>
                </c:pt>
                <c:pt idx="35">
                  <c:v>58</c:v>
                </c:pt>
                <c:pt idx="36">
                  <c:v>57</c:v>
                </c:pt>
                <c:pt idx="37">
                  <c:v>49</c:v>
                </c:pt>
                <c:pt idx="38">
                  <c:v>48</c:v>
                </c:pt>
                <c:pt idx="39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EF-40B0-A499-4672B2C774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Mateřská + základní škola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3:$AO$3</c:f>
              <c:numCache>
                <c:formatCode>General</c:formatCode>
                <c:ptCount val="40"/>
                <c:pt idx="0">
                  <c:v>51</c:v>
                </c:pt>
                <c:pt idx="1">
                  <c:v>39</c:v>
                </c:pt>
                <c:pt idx="2">
                  <c:v>38</c:v>
                </c:pt>
                <c:pt idx="3">
                  <c:v>17</c:v>
                </c:pt>
                <c:pt idx="4">
                  <c:v>14</c:v>
                </c:pt>
                <c:pt idx="5">
                  <c:v>25</c:v>
                </c:pt>
                <c:pt idx="6">
                  <c:v>7</c:v>
                </c:pt>
                <c:pt idx="7">
                  <c:v>63</c:v>
                </c:pt>
                <c:pt idx="8">
                  <c:v>32</c:v>
                </c:pt>
                <c:pt idx="9">
                  <c:v>17</c:v>
                </c:pt>
                <c:pt idx="10">
                  <c:v>7</c:v>
                </c:pt>
                <c:pt idx="11">
                  <c:v>1</c:v>
                </c:pt>
                <c:pt idx="12">
                  <c:v>1</c:v>
                </c:pt>
                <c:pt idx="13">
                  <c:v>4</c:v>
                </c:pt>
                <c:pt idx="14">
                  <c:v>33</c:v>
                </c:pt>
                <c:pt idx="15">
                  <c:v>16</c:v>
                </c:pt>
                <c:pt idx="16">
                  <c:v>37</c:v>
                </c:pt>
                <c:pt idx="17">
                  <c:v>22</c:v>
                </c:pt>
                <c:pt idx="18">
                  <c:v>0</c:v>
                </c:pt>
                <c:pt idx="19">
                  <c:v>45</c:v>
                </c:pt>
                <c:pt idx="20">
                  <c:v>42</c:v>
                </c:pt>
                <c:pt idx="21">
                  <c:v>106</c:v>
                </c:pt>
                <c:pt idx="22">
                  <c:v>20</c:v>
                </c:pt>
                <c:pt idx="23">
                  <c:v>32</c:v>
                </c:pt>
                <c:pt idx="24">
                  <c:v>169</c:v>
                </c:pt>
                <c:pt idx="25">
                  <c:v>183</c:v>
                </c:pt>
                <c:pt idx="26">
                  <c:v>66</c:v>
                </c:pt>
                <c:pt idx="27">
                  <c:v>4</c:v>
                </c:pt>
                <c:pt idx="28">
                  <c:v>13</c:v>
                </c:pt>
                <c:pt idx="29">
                  <c:v>5</c:v>
                </c:pt>
                <c:pt idx="30">
                  <c:v>4</c:v>
                </c:pt>
                <c:pt idx="31">
                  <c:v>2</c:v>
                </c:pt>
                <c:pt idx="32">
                  <c:v>3</c:v>
                </c:pt>
                <c:pt idx="33">
                  <c:v>41</c:v>
                </c:pt>
                <c:pt idx="34">
                  <c:v>14</c:v>
                </c:pt>
                <c:pt idx="35">
                  <c:v>23</c:v>
                </c:pt>
                <c:pt idx="36">
                  <c:v>4</c:v>
                </c:pt>
                <c:pt idx="37">
                  <c:v>18</c:v>
                </c:pt>
                <c:pt idx="38">
                  <c:v>7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EF-40B0-A499-4672B2C774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Mateřská + základní + střední škola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4:$AO$4</c:f>
              <c:numCache>
                <c:formatCode>General</c:formatCode>
                <c:ptCount val="40"/>
                <c:pt idx="0">
                  <c:v>0</c:v>
                </c:pt>
                <c:pt idx="1">
                  <c:v>4</c:v>
                </c:pt>
                <c:pt idx="2">
                  <c:v>5</c:v>
                </c:pt>
                <c:pt idx="3">
                  <c:v>0</c:v>
                </c:pt>
                <c:pt idx="4">
                  <c:v>0</c:v>
                </c:pt>
                <c:pt idx="5">
                  <c:v>9</c:v>
                </c:pt>
                <c:pt idx="6">
                  <c:v>0</c:v>
                </c:pt>
                <c:pt idx="7">
                  <c:v>0</c:v>
                </c:pt>
                <c:pt idx="8">
                  <c:v>17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</c:v>
                </c:pt>
                <c:pt idx="14">
                  <c:v>2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0</c:v>
                </c:pt>
                <c:pt idx="20">
                  <c:v>4</c:v>
                </c:pt>
                <c:pt idx="21">
                  <c:v>2</c:v>
                </c:pt>
                <c:pt idx="22">
                  <c:v>0</c:v>
                </c:pt>
                <c:pt idx="23">
                  <c:v>0</c:v>
                </c:pt>
                <c:pt idx="24">
                  <c:v>17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EF-40B0-A499-4672B2C774D2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Základní škola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5:$AO$5</c:f>
              <c:numCache>
                <c:formatCode>General</c:formatCode>
                <c:ptCount val="40"/>
                <c:pt idx="0">
                  <c:v>46</c:v>
                </c:pt>
                <c:pt idx="1">
                  <c:v>361</c:v>
                </c:pt>
                <c:pt idx="2">
                  <c:v>330</c:v>
                </c:pt>
                <c:pt idx="3">
                  <c:v>190</c:v>
                </c:pt>
                <c:pt idx="4">
                  <c:v>134</c:v>
                </c:pt>
                <c:pt idx="5">
                  <c:v>190</c:v>
                </c:pt>
                <c:pt idx="6">
                  <c:v>24</c:v>
                </c:pt>
                <c:pt idx="7">
                  <c:v>181</c:v>
                </c:pt>
                <c:pt idx="8">
                  <c:v>67</c:v>
                </c:pt>
                <c:pt idx="9">
                  <c:v>0</c:v>
                </c:pt>
                <c:pt idx="10">
                  <c:v>0</c:v>
                </c:pt>
                <c:pt idx="11">
                  <c:v>17</c:v>
                </c:pt>
                <c:pt idx="12">
                  <c:v>18</c:v>
                </c:pt>
                <c:pt idx="13">
                  <c:v>33</c:v>
                </c:pt>
                <c:pt idx="14">
                  <c:v>221</c:v>
                </c:pt>
                <c:pt idx="15">
                  <c:v>132</c:v>
                </c:pt>
                <c:pt idx="16">
                  <c:v>12</c:v>
                </c:pt>
                <c:pt idx="17">
                  <c:v>68</c:v>
                </c:pt>
                <c:pt idx="18">
                  <c:v>3</c:v>
                </c:pt>
                <c:pt idx="19">
                  <c:v>67</c:v>
                </c:pt>
                <c:pt idx="20">
                  <c:v>82</c:v>
                </c:pt>
                <c:pt idx="21">
                  <c:v>88</c:v>
                </c:pt>
                <c:pt idx="22">
                  <c:v>81</c:v>
                </c:pt>
                <c:pt idx="23">
                  <c:v>201</c:v>
                </c:pt>
                <c:pt idx="24">
                  <c:v>397</c:v>
                </c:pt>
                <c:pt idx="25">
                  <c:v>208</c:v>
                </c:pt>
                <c:pt idx="26">
                  <c:v>185</c:v>
                </c:pt>
                <c:pt idx="27">
                  <c:v>35</c:v>
                </c:pt>
                <c:pt idx="28">
                  <c:v>21</c:v>
                </c:pt>
                <c:pt idx="29">
                  <c:v>9</c:v>
                </c:pt>
                <c:pt idx="30">
                  <c:v>9</c:v>
                </c:pt>
                <c:pt idx="31">
                  <c:v>5</c:v>
                </c:pt>
                <c:pt idx="32">
                  <c:v>15</c:v>
                </c:pt>
                <c:pt idx="33">
                  <c:v>55</c:v>
                </c:pt>
                <c:pt idx="34">
                  <c:v>93</c:v>
                </c:pt>
                <c:pt idx="35">
                  <c:v>48</c:v>
                </c:pt>
                <c:pt idx="36">
                  <c:v>23</c:v>
                </c:pt>
                <c:pt idx="37">
                  <c:v>49</c:v>
                </c:pt>
                <c:pt idx="38">
                  <c:v>77</c:v>
                </c:pt>
                <c:pt idx="39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EF-40B0-A499-4672B2C774D2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Základní + střední škol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6:$AO$6</c:f>
              <c:numCache>
                <c:formatCode>General</c:formatCode>
                <c:ptCount val="40"/>
                <c:pt idx="0">
                  <c:v>0</c:v>
                </c:pt>
                <c:pt idx="1">
                  <c:v>4</c:v>
                </c:pt>
                <c:pt idx="2">
                  <c:v>1</c:v>
                </c:pt>
                <c:pt idx="3">
                  <c:v>13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2</c:v>
                </c:pt>
                <c:pt idx="15">
                  <c:v>2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7</c:v>
                </c:pt>
                <c:pt idx="24">
                  <c:v>1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8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EF-40B0-A499-4672B2C774D2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Střední škola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7:$AO$7</c:f>
              <c:numCache>
                <c:formatCode>General</c:formatCode>
                <c:ptCount val="40"/>
                <c:pt idx="0">
                  <c:v>28</c:v>
                </c:pt>
                <c:pt idx="1">
                  <c:v>291</c:v>
                </c:pt>
                <c:pt idx="2">
                  <c:v>272</c:v>
                </c:pt>
                <c:pt idx="3">
                  <c:v>114</c:v>
                </c:pt>
                <c:pt idx="4">
                  <c:v>143</c:v>
                </c:pt>
                <c:pt idx="5">
                  <c:v>119</c:v>
                </c:pt>
                <c:pt idx="6">
                  <c:v>22</c:v>
                </c:pt>
                <c:pt idx="7">
                  <c:v>39</c:v>
                </c:pt>
                <c:pt idx="8">
                  <c:v>16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9</c:v>
                </c:pt>
                <c:pt idx="14">
                  <c:v>26</c:v>
                </c:pt>
                <c:pt idx="15">
                  <c:v>0</c:v>
                </c:pt>
                <c:pt idx="16">
                  <c:v>43</c:v>
                </c:pt>
                <c:pt idx="17">
                  <c:v>29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9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2</c:v>
                </c:pt>
                <c:pt idx="36">
                  <c:v>1</c:v>
                </c:pt>
                <c:pt idx="37">
                  <c:v>0</c:v>
                </c:pt>
                <c:pt idx="38">
                  <c:v>2</c:v>
                </c:pt>
                <c:pt idx="39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DEF-40B0-A499-4672B2C774D2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Střední + Vyšší odborná škola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8:$AO$8</c:f>
              <c:numCache>
                <c:formatCode>General</c:formatCode>
                <c:ptCount val="40"/>
                <c:pt idx="0">
                  <c:v>1</c:v>
                </c:pt>
                <c:pt idx="1">
                  <c:v>6</c:v>
                </c:pt>
                <c:pt idx="2">
                  <c:v>9</c:v>
                </c:pt>
                <c:pt idx="3">
                  <c:v>0</c:v>
                </c:pt>
                <c:pt idx="4">
                  <c:v>31</c:v>
                </c:pt>
                <c:pt idx="5">
                  <c:v>4</c:v>
                </c:pt>
                <c:pt idx="6">
                  <c:v>0</c:v>
                </c:pt>
                <c:pt idx="7">
                  <c:v>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21</c:v>
                </c:pt>
                <c:pt idx="15">
                  <c:v>13</c:v>
                </c:pt>
                <c:pt idx="16">
                  <c:v>5</c:v>
                </c:pt>
                <c:pt idx="17">
                  <c:v>2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5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DEF-40B0-A499-4672B2C774D2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Vyšší odborná škola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9:$AO$9</c:f>
              <c:numCache>
                <c:formatCode>General</c:formatCode>
                <c:ptCount val="40"/>
                <c:pt idx="0">
                  <c:v>0</c:v>
                </c:pt>
                <c:pt idx="1">
                  <c:v>8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DEF-40B0-A499-4672B2C774D2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Vysoká škol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10:$AO$10</c:f>
              <c:numCache>
                <c:formatCode>General</c:formatCode>
                <c:ptCount val="40"/>
                <c:pt idx="0">
                  <c:v>0</c:v>
                </c:pt>
                <c:pt idx="1">
                  <c:v>46</c:v>
                </c:pt>
                <c:pt idx="2">
                  <c:v>0</c:v>
                </c:pt>
                <c:pt idx="3">
                  <c:v>0</c:v>
                </c:pt>
                <c:pt idx="4">
                  <c:v>61</c:v>
                </c:pt>
                <c:pt idx="5">
                  <c:v>31</c:v>
                </c:pt>
                <c:pt idx="6">
                  <c:v>10</c:v>
                </c:pt>
                <c:pt idx="7">
                  <c:v>9</c:v>
                </c:pt>
                <c:pt idx="8">
                  <c:v>0</c:v>
                </c:pt>
                <c:pt idx="9">
                  <c:v>16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3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DEF-40B0-A499-4672B2C774D2}"/>
            </c:ext>
          </c:extLst>
        </c:ser>
        <c:ser>
          <c:idx val="9"/>
          <c:order val="9"/>
          <c:tx>
            <c:strRef>
              <c:f>List1!$A$1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11:$AO$11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2</c:v>
                </c:pt>
                <c:pt idx="17">
                  <c:v>0</c:v>
                </c:pt>
                <c:pt idx="18">
                  <c:v>0</c:v>
                </c:pt>
                <c:pt idx="19">
                  <c:v>44</c:v>
                </c:pt>
                <c:pt idx="20">
                  <c:v>0</c:v>
                </c:pt>
                <c:pt idx="21">
                  <c:v>9</c:v>
                </c:pt>
                <c:pt idx="22">
                  <c:v>0</c:v>
                </c:pt>
                <c:pt idx="23">
                  <c:v>8</c:v>
                </c:pt>
                <c:pt idx="24">
                  <c:v>2</c:v>
                </c:pt>
                <c:pt idx="25">
                  <c:v>16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DEF-40B0-A499-4672B2C77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961173910805841"/>
          <c:y val="3.3173697993799545E-2"/>
          <c:w val="0.17038826089194165"/>
          <c:h val="0.911331231918476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232529527559053E-2"/>
          <c:y val="4.4552030627516157E-2"/>
          <c:w val="0.85003592519685056"/>
          <c:h val="0.785162639083324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do 29 let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2:$AO$2</c:f>
              <c:numCache>
                <c:formatCode>General</c:formatCode>
                <c:ptCount val="40"/>
                <c:pt idx="0">
                  <c:v>32</c:v>
                </c:pt>
                <c:pt idx="1">
                  <c:v>73</c:v>
                </c:pt>
                <c:pt idx="2">
                  <c:v>91</c:v>
                </c:pt>
                <c:pt idx="3">
                  <c:v>98</c:v>
                </c:pt>
                <c:pt idx="4">
                  <c:v>98</c:v>
                </c:pt>
                <c:pt idx="5">
                  <c:v>210</c:v>
                </c:pt>
                <c:pt idx="6">
                  <c:v>301</c:v>
                </c:pt>
                <c:pt idx="7">
                  <c:v>402</c:v>
                </c:pt>
                <c:pt idx="8">
                  <c:v>278</c:v>
                </c:pt>
                <c:pt idx="9">
                  <c:v>219</c:v>
                </c:pt>
                <c:pt idx="10">
                  <c:v>136</c:v>
                </c:pt>
                <c:pt idx="11">
                  <c:v>107</c:v>
                </c:pt>
                <c:pt idx="12">
                  <c:v>79</c:v>
                </c:pt>
                <c:pt idx="13">
                  <c:v>126</c:v>
                </c:pt>
                <c:pt idx="14">
                  <c:v>161</c:v>
                </c:pt>
                <c:pt idx="15">
                  <c:v>181</c:v>
                </c:pt>
                <c:pt idx="16">
                  <c:v>178</c:v>
                </c:pt>
                <c:pt idx="17">
                  <c:v>214</c:v>
                </c:pt>
                <c:pt idx="18">
                  <c:v>302</c:v>
                </c:pt>
                <c:pt idx="19">
                  <c:v>164</c:v>
                </c:pt>
                <c:pt idx="20">
                  <c:v>143</c:v>
                </c:pt>
                <c:pt idx="21">
                  <c:v>164</c:v>
                </c:pt>
                <c:pt idx="22">
                  <c:v>154</c:v>
                </c:pt>
                <c:pt idx="23">
                  <c:v>194</c:v>
                </c:pt>
                <c:pt idx="24">
                  <c:v>200</c:v>
                </c:pt>
                <c:pt idx="25">
                  <c:v>269</c:v>
                </c:pt>
                <c:pt idx="26">
                  <c:v>223</c:v>
                </c:pt>
                <c:pt idx="27">
                  <c:v>154</c:v>
                </c:pt>
                <c:pt idx="28">
                  <c:v>111</c:v>
                </c:pt>
                <c:pt idx="29">
                  <c:v>87</c:v>
                </c:pt>
                <c:pt idx="30">
                  <c:v>55</c:v>
                </c:pt>
                <c:pt idx="31">
                  <c:v>68</c:v>
                </c:pt>
                <c:pt idx="32">
                  <c:v>37</c:v>
                </c:pt>
                <c:pt idx="33">
                  <c:v>39</c:v>
                </c:pt>
                <c:pt idx="34">
                  <c:v>19</c:v>
                </c:pt>
                <c:pt idx="35">
                  <c:v>23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EF-40B0-A499-4672B2C774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0-49 let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3:$AO$3</c:f>
              <c:numCache>
                <c:formatCode>General</c:formatCode>
                <c:ptCount val="40"/>
                <c:pt idx="0">
                  <c:v>59</c:v>
                </c:pt>
                <c:pt idx="1">
                  <c:v>192</c:v>
                </c:pt>
                <c:pt idx="2">
                  <c:v>401</c:v>
                </c:pt>
                <c:pt idx="3">
                  <c:v>425</c:v>
                </c:pt>
                <c:pt idx="4">
                  <c:v>481</c:v>
                </c:pt>
                <c:pt idx="5">
                  <c:v>875</c:v>
                </c:pt>
                <c:pt idx="6">
                  <c:v>1354</c:v>
                </c:pt>
                <c:pt idx="7">
                  <c:v>1695</c:v>
                </c:pt>
                <c:pt idx="8">
                  <c:v>1375</c:v>
                </c:pt>
                <c:pt idx="9">
                  <c:v>905</c:v>
                </c:pt>
                <c:pt idx="10">
                  <c:v>487</c:v>
                </c:pt>
                <c:pt idx="11">
                  <c:v>417</c:v>
                </c:pt>
                <c:pt idx="12">
                  <c:v>362</c:v>
                </c:pt>
                <c:pt idx="13">
                  <c:v>487</c:v>
                </c:pt>
                <c:pt idx="14">
                  <c:v>788</c:v>
                </c:pt>
                <c:pt idx="15">
                  <c:v>983</c:v>
                </c:pt>
                <c:pt idx="16">
                  <c:v>848</c:v>
                </c:pt>
                <c:pt idx="17">
                  <c:v>1057</c:v>
                </c:pt>
                <c:pt idx="18">
                  <c:v>1270</c:v>
                </c:pt>
                <c:pt idx="19">
                  <c:v>905</c:v>
                </c:pt>
                <c:pt idx="20">
                  <c:v>747</c:v>
                </c:pt>
                <c:pt idx="21">
                  <c:v>764</c:v>
                </c:pt>
                <c:pt idx="22">
                  <c:v>789</c:v>
                </c:pt>
                <c:pt idx="23">
                  <c:v>861</c:v>
                </c:pt>
                <c:pt idx="24">
                  <c:v>1104</c:v>
                </c:pt>
                <c:pt idx="25">
                  <c:v>1289</c:v>
                </c:pt>
                <c:pt idx="26">
                  <c:v>1111</c:v>
                </c:pt>
                <c:pt idx="27">
                  <c:v>750</c:v>
                </c:pt>
                <c:pt idx="28">
                  <c:v>563</c:v>
                </c:pt>
                <c:pt idx="29">
                  <c:v>403</c:v>
                </c:pt>
                <c:pt idx="30">
                  <c:v>281</c:v>
                </c:pt>
                <c:pt idx="31">
                  <c:v>237</c:v>
                </c:pt>
                <c:pt idx="32">
                  <c:v>179</c:v>
                </c:pt>
                <c:pt idx="33">
                  <c:v>155</c:v>
                </c:pt>
                <c:pt idx="34">
                  <c:v>121</c:v>
                </c:pt>
                <c:pt idx="35">
                  <c:v>71</c:v>
                </c:pt>
                <c:pt idx="36">
                  <c:v>66</c:v>
                </c:pt>
                <c:pt idx="37">
                  <c:v>39</c:v>
                </c:pt>
                <c:pt idx="38">
                  <c:v>31</c:v>
                </c:pt>
                <c:pt idx="39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EF-40B0-A499-4672B2C774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4:$AO$4</c:f>
              <c:numCache>
                <c:formatCode>General</c:formatCode>
                <c:ptCount val="40"/>
                <c:pt idx="0">
                  <c:v>48</c:v>
                </c:pt>
                <c:pt idx="1">
                  <c:v>120</c:v>
                </c:pt>
                <c:pt idx="2">
                  <c:v>218</c:v>
                </c:pt>
                <c:pt idx="3">
                  <c:v>264</c:v>
                </c:pt>
                <c:pt idx="4">
                  <c:v>320</c:v>
                </c:pt>
                <c:pt idx="5">
                  <c:v>580</c:v>
                </c:pt>
                <c:pt idx="6">
                  <c:v>917</c:v>
                </c:pt>
                <c:pt idx="7">
                  <c:v>1175</c:v>
                </c:pt>
                <c:pt idx="8">
                  <c:v>993</c:v>
                </c:pt>
                <c:pt idx="9">
                  <c:v>748</c:v>
                </c:pt>
                <c:pt idx="10">
                  <c:v>422</c:v>
                </c:pt>
                <c:pt idx="11">
                  <c:v>320</c:v>
                </c:pt>
                <c:pt idx="12">
                  <c:v>302</c:v>
                </c:pt>
                <c:pt idx="13">
                  <c:v>361</c:v>
                </c:pt>
                <c:pt idx="14">
                  <c:v>545</c:v>
                </c:pt>
                <c:pt idx="15">
                  <c:v>730</c:v>
                </c:pt>
                <c:pt idx="16">
                  <c:v>552</c:v>
                </c:pt>
                <c:pt idx="17">
                  <c:v>777</c:v>
                </c:pt>
                <c:pt idx="18">
                  <c:v>950</c:v>
                </c:pt>
                <c:pt idx="19">
                  <c:v>713</c:v>
                </c:pt>
                <c:pt idx="20">
                  <c:v>617</c:v>
                </c:pt>
                <c:pt idx="21">
                  <c:v>601</c:v>
                </c:pt>
                <c:pt idx="22">
                  <c:v>618</c:v>
                </c:pt>
                <c:pt idx="23">
                  <c:v>629</c:v>
                </c:pt>
                <c:pt idx="24">
                  <c:v>822</c:v>
                </c:pt>
                <c:pt idx="25">
                  <c:v>885</c:v>
                </c:pt>
                <c:pt idx="26">
                  <c:v>825</c:v>
                </c:pt>
                <c:pt idx="27">
                  <c:v>596</c:v>
                </c:pt>
                <c:pt idx="28">
                  <c:v>489</c:v>
                </c:pt>
                <c:pt idx="29">
                  <c:v>313</c:v>
                </c:pt>
                <c:pt idx="30">
                  <c:v>212</c:v>
                </c:pt>
                <c:pt idx="31">
                  <c:v>156</c:v>
                </c:pt>
                <c:pt idx="32">
                  <c:v>106</c:v>
                </c:pt>
                <c:pt idx="33">
                  <c:v>80</c:v>
                </c:pt>
                <c:pt idx="34">
                  <c:v>55</c:v>
                </c:pt>
                <c:pt idx="35">
                  <c:v>45</c:v>
                </c:pt>
                <c:pt idx="36">
                  <c:v>23</c:v>
                </c:pt>
                <c:pt idx="37">
                  <c:v>19</c:v>
                </c:pt>
                <c:pt idx="38">
                  <c:v>17</c:v>
                </c:pt>
                <c:pt idx="3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EF-40B0-A499-4672B2C774D2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+ let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B$1:$AO$1</c:f>
              <c:strCache>
                <c:ptCount val="40"/>
                <c:pt idx="0">
                  <c:v>31.8.–6.9.</c:v>
                </c:pt>
                <c:pt idx="1">
                  <c:v>7.9.–13.9.</c:v>
                </c:pt>
                <c:pt idx="2">
                  <c:v>14.9.–20.9.</c:v>
                </c:pt>
                <c:pt idx="3">
                  <c:v>21.9.–27.9.</c:v>
                </c:pt>
                <c:pt idx="4">
                  <c:v>28.9.–4.10.</c:v>
                </c:pt>
                <c:pt idx="5">
                  <c:v>5.10.–11.10.</c:v>
                </c:pt>
                <c:pt idx="6">
                  <c:v>12.10.–18.10.</c:v>
                </c:pt>
                <c:pt idx="7">
                  <c:v>19.10.–25.10.</c:v>
                </c:pt>
                <c:pt idx="8">
                  <c:v>26.10.–1.11.</c:v>
                </c:pt>
                <c:pt idx="9">
                  <c:v>2.11.–8.11.</c:v>
                </c:pt>
                <c:pt idx="10">
                  <c:v>9.11.–15.11.</c:v>
                </c:pt>
                <c:pt idx="11">
                  <c:v>16.11.–22.11.</c:v>
                </c:pt>
                <c:pt idx="12">
                  <c:v>23.11.–29.11.</c:v>
                </c:pt>
                <c:pt idx="13">
                  <c:v>30.11.–6.12.</c:v>
                </c:pt>
                <c:pt idx="14">
                  <c:v>7.12.–13.12.</c:v>
                </c:pt>
                <c:pt idx="15">
                  <c:v>14.12.–20.12.</c:v>
                </c:pt>
                <c:pt idx="16">
                  <c:v>21.12.–27.12.</c:v>
                </c:pt>
                <c:pt idx="17">
                  <c:v>28.12.–3.1.</c:v>
                </c:pt>
                <c:pt idx="18">
                  <c:v>4.1.–10.1.</c:v>
                </c:pt>
                <c:pt idx="19">
                  <c:v>11.1.–17.1.</c:v>
                </c:pt>
                <c:pt idx="20">
                  <c:v>18.1.–24.1.</c:v>
                </c:pt>
                <c:pt idx="21">
                  <c:v>25.1.–31.1.</c:v>
                </c:pt>
                <c:pt idx="22">
                  <c:v>1.2.–7.2.</c:v>
                </c:pt>
                <c:pt idx="23">
                  <c:v>8.2.–14.2.</c:v>
                </c:pt>
                <c:pt idx="24">
                  <c:v>15.2.–21.2.</c:v>
                </c:pt>
                <c:pt idx="25">
                  <c:v>22.2.–28.2.</c:v>
                </c:pt>
                <c:pt idx="26">
                  <c:v>1.3.–7.3.</c:v>
                </c:pt>
                <c:pt idx="27">
                  <c:v>8.3.–14.3.</c:v>
                </c:pt>
                <c:pt idx="28">
                  <c:v>15.3.–21.3.</c:v>
                </c:pt>
                <c:pt idx="29">
                  <c:v>22.3.–28.3.</c:v>
                </c:pt>
                <c:pt idx="30">
                  <c:v>29.3.–4.4.</c:v>
                </c:pt>
                <c:pt idx="31">
                  <c:v>5.4.–11.4.</c:v>
                </c:pt>
                <c:pt idx="32">
                  <c:v>12.4.–18.4.</c:v>
                </c:pt>
                <c:pt idx="33">
                  <c:v>19.4.–25.4.</c:v>
                </c:pt>
                <c:pt idx="34">
                  <c:v>26.4.–2.5.</c:v>
                </c:pt>
                <c:pt idx="35">
                  <c:v>3.5.–9.5.</c:v>
                </c:pt>
                <c:pt idx="36">
                  <c:v>10.5.–16.5.</c:v>
                </c:pt>
                <c:pt idx="37">
                  <c:v>17.5.–23.5.</c:v>
                </c:pt>
                <c:pt idx="38">
                  <c:v>24.5.–30.5.</c:v>
                </c:pt>
                <c:pt idx="39">
                  <c:v>31.5.–4.6.</c:v>
                </c:pt>
              </c:strCache>
            </c:strRef>
          </c:cat>
          <c:val>
            <c:numRef>
              <c:f>List1!$B$5:$AO$5</c:f>
              <c:numCache>
                <c:formatCode>General</c:formatCode>
                <c:ptCount val="40"/>
                <c:pt idx="0">
                  <c:v>4</c:v>
                </c:pt>
                <c:pt idx="1">
                  <c:v>9</c:v>
                </c:pt>
                <c:pt idx="2">
                  <c:v>15</c:v>
                </c:pt>
                <c:pt idx="3">
                  <c:v>16</c:v>
                </c:pt>
                <c:pt idx="4">
                  <c:v>31</c:v>
                </c:pt>
                <c:pt idx="5">
                  <c:v>25</c:v>
                </c:pt>
                <c:pt idx="6">
                  <c:v>44</c:v>
                </c:pt>
                <c:pt idx="7">
                  <c:v>73</c:v>
                </c:pt>
                <c:pt idx="8">
                  <c:v>50</c:v>
                </c:pt>
                <c:pt idx="9">
                  <c:v>46</c:v>
                </c:pt>
                <c:pt idx="10">
                  <c:v>31</c:v>
                </c:pt>
                <c:pt idx="11">
                  <c:v>19</c:v>
                </c:pt>
                <c:pt idx="12">
                  <c:v>13</c:v>
                </c:pt>
                <c:pt idx="13">
                  <c:v>14</c:v>
                </c:pt>
                <c:pt idx="14">
                  <c:v>38</c:v>
                </c:pt>
                <c:pt idx="15">
                  <c:v>45</c:v>
                </c:pt>
                <c:pt idx="16">
                  <c:v>42</c:v>
                </c:pt>
                <c:pt idx="17">
                  <c:v>40</c:v>
                </c:pt>
                <c:pt idx="18">
                  <c:v>76</c:v>
                </c:pt>
                <c:pt idx="19">
                  <c:v>72</c:v>
                </c:pt>
                <c:pt idx="20">
                  <c:v>52</c:v>
                </c:pt>
                <c:pt idx="21">
                  <c:v>57</c:v>
                </c:pt>
                <c:pt idx="22">
                  <c:v>58</c:v>
                </c:pt>
                <c:pt idx="23">
                  <c:v>60</c:v>
                </c:pt>
                <c:pt idx="24">
                  <c:v>81</c:v>
                </c:pt>
                <c:pt idx="25">
                  <c:v>82</c:v>
                </c:pt>
                <c:pt idx="26">
                  <c:v>90</c:v>
                </c:pt>
                <c:pt idx="27">
                  <c:v>81</c:v>
                </c:pt>
                <c:pt idx="28">
                  <c:v>52</c:v>
                </c:pt>
                <c:pt idx="29">
                  <c:v>33</c:v>
                </c:pt>
                <c:pt idx="30">
                  <c:v>21</c:v>
                </c:pt>
                <c:pt idx="31">
                  <c:v>18</c:v>
                </c:pt>
                <c:pt idx="32">
                  <c:v>4</c:v>
                </c:pt>
                <c:pt idx="33">
                  <c:v>4</c:v>
                </c:pt>
                <c:pt idx="34">
                  <c:v>5</c:v>
                </c:pt>
                <c:pt idx="35">
                  <c:v>2</c:v>
                </c:pt>
                <c:pt idx="36">
                  <c:v>4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EF-40B0-A499-4672B2C77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  <c:max val="3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92305954724409445"/>
          <c:y val="0.30095349880620348"/>
          <c:w val="7.2578166010498685E-2"/>
          <c:h val="0.345203867197360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dagog, školství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Sheet1!$A$2:$A$275</c:f>
              <c:strCache>
                <c:ptCount val="274"/>
                <c:pt idx="0">
                  <c:v>4-IX.</c:v>
                </c:pt>
                <c:pt idx="1">
                  <c:v>5-IX.</c:v>
                </c:pt>
                <c:pt idx="2">
                  <c:v>6-IX.</c:v>
                </c:pt>
                <c:pt idx="3">
                  <c:v>7-IX.</c:v>
                </c:pt>
                <c:pt idx="4">
                  <c:v>8-IX.</c:v>
                </c:pt>
                <c:pt idx="5">
                  <c:v>9-IX.</c:v>
                </c:pt>
                <c:pt idx="6">
                  <c:v>10-IX.</c:v>
                </c:pt>
                <c:pt idx="7">
                  <c:v>11-IX.</c:v>
                </c:pt>
                <c:pt idx="8">
                  <c:v>12-IX.</c:v>
                </c:pt>
                <c:pt idx="9">
                  <c:v>13-IX.</c:v>
                </c:pt>
                <c:pt idx="10">
                  <c:v>14-IX.</c:v>
                </c:pt>
                <c:pt idx="11">
                  <c:v>15-IX.</c:v>
                </c:pt>
                <c:pt idx="12">
                  <c:v>16-IX.</c:v>
                </c:pt>
                <c:pt idx="13">
                  <c:v>17-IX.</c:v>
                </c:pt>
                <c:pt idx="14">
                  <c:v>18-IX.</c:v>
                </c:pt>
                <c:pt idx="15">
                  <c:v>19-IX.</c:v>
                </c:pt>
                <c:pt idx="16">
                  <c:v>20-IX.</c:v>
                </c:pt>
                <c:pt idx="17">
                  <c:v>21-IX.</c:v>
                </c:pt>
                <c:pt idx="18">
                  <c:v>22-IX.</c:v>
                </c:pt>
                <c:pt idx="19">
                  <c:v>23-IX.</c:v>
                </c:pt>
                <c:pt idx="20">
                  <c:v>24-IX.</c:v>
                </c:pt>
                <c:pt idx="21">
                  <c:v>25-IX.</c:v>
                </c:pt>
                <c:pt idx="22">
                  <c:v>26-IX.</c:v>
                </c:pt>
                <c:pt idx="23">
                  <c:v>27-IX.</c:v>
                </c:pt>
                <c:pt idx="24">
                  <c:v>28-IX.</c:v>
                </c:pt>
                <c:pt idx="25">
                  <c:v>29-IX.</c:v>
                </c:pt>
                <c:pt idx="26">
                  <c:v>30-IX.</c:v>
                </c:pt>
                <c:pt idx="27">
                  <c:v>1-X.</c:v>
                </c:pt>
                <c:pt idx="28">
                  <c:v>2-X.</c:v>
                </c:pt>
                <c:pt idx="29">
                  <c:v>3-X.</c:v>
                </c:pt>
                <c:pt idx="30">
                  <c:v>4-X.</c:v>
                </c:pt>
                <c:pt idx="31">
                  <c:v>5-X.</c:v>
                </c:pt>
                <c:pt idx="32">
                  <c:v>6-X.</c:v>
                </c:pt>
                <c:pt idx="33">
                  <c:v>7-X.</c:v>
                </c:pt>
                <c:pt idx="34">
                  <c:v>8-X.</c:v>
                </c:pt>
                <c:pt idx="35">
                  <c:v>9-X.</c:v>
                </c:pt>
                <c:pt idx="36">
                  <c:v>10-X.</c:v>
                </c:pt>
                <c:pt idx="37">
                  <c:v>11-X.</c:v>
                </c:pt>
                <c:pt idx="38">
                  <c:v>12-X.</c:v>
                </c:pt>
                <c:pt idx="39">
                  <c:v>13-X.</c:v>
                </c:pt>
                <c:pt idx="40">
                  <c:v>14-X.</c:v>
                </c:pt>
                <c:pt idx="41">
                  <c:v>15-X.</c:v>
                </c:pt>
                <c:pt idx="42">
                  <c:v>16-X.</c:v>
                </c:pt>
                <c:pt idx="43">
                  <c:v>17-X.</c:v>
                </c:pt>
                <c:pt idx="44">
                  <c:v>18-X.</c:v>
                </c:pt>
                <c:pt idx="45">
                  <c:v>19-X.</c:v>
                </c:pt>
                <c:pt idx="46">
                  <c:v>20-X.</c:v>
                </c:pt>
                <c:pt idx="47">
                  <c:v>21-X.</c:v>
                </c:pt>
                <c:pt idx="48">
                  <c:v>22-X.</c:v>
                </c:pt>
                <c:pt idx="49">
                  <c:v>23-X.</c:v>
                </c:pt>
                <c:pt idx="50">
                  <c:v>24-X.</c:v>
                </c:pt>
                <c:pt idx="51">
                  <c:v>25-X.</c:v>
                </c:pt>
                <c:pt idx="52">
                  <c:v>26-X.</c:v>
                </c:pt>
                <c:pt idx="53">
                  <c:v>27-X.</c:v>
                </c:pt>
                <c:pt idx="54">
                  <c:v>28-X.</c:v>
                </c:pt>
                <c:pt idx="55">
                  <c:v>29-X.</c:v>
                </c:pt>
                <c:pt idx="56">
                  <c:v>30-X.</c:v>
                </c:pt>
                <c:pt idx="57">
                  <c:v>31-X.</c:v>
                </c:pt>
                <c:pt idx="58">
                  <c:v>1-XI.</c:v>
                </c:pt>
                <c:pt idx="59">
                  <c:v>2-XI.</c:v>
                </c:pt>
                <c:pt idx="60">
                  <c:v>3-XI.</c:v>
                </c:pt>
                <c:pt idx="61">
                  <c:v>4-XI.</c:v>
                </c:pt>
                <c:pt idx="62">
                  <c:v>5-XI.</c:v>
                </c:pt>
                <c:pt idx="63">
                  <c:v>6-XI.</c:v>
                </c:pt>
                <c:pt idx="64">
                  <c:v>7-XI.</c:v>
                </c:pt>
                <c:pt idx="65">
                  <c:v>8-XI.</c:v>
                </c:pt>
                <c:pt idx="66">
                  <c:v>9-XI.</c:v>
                </c:pt>
                <c:pt idx="67">
                  <c:v>10-XI.</c:v>
                </c:pt>
                <c:pt idx="68">
                  <c:v>11-XI.</c:v>
                </c:pt>
                <c:pt idx="69">
                  <c:v>12-XI.</c:v>
                </c:pt>
                <c:pt idx="70">
                  <c:v>13-XI.</c:v>
                </c:pt>
                <c:pt idx="71">
                  <c:v>14-XI.</c:v>
                </c:pt>
                <c:pt idx="72">
                  <c:v>15-XI.</c:v>
                </c:pt>
                <c:pt idx="73">
                  <c:v>16-XI.</c:v>
                </c:pt>
                <c:pt idx="74">
                  <c:v>17-XI.</c:v>
                </c:pt>
                <c:pt idx="75">
                  <c:v>18-XI.</c:v>
                </c:pt>
                <c:pt idx="76">
                  <c:v>19-XI.</c:v>
                </c:pt>
                <c:pt idx="77">
                  <c:v>20-XI.</c:v>
                </c:pt>
                <c:pt idx="78">
                  <c:v>21-XI.</c:v>
                </c:pt>
                <c:pt idx="79">
                  <c:v>22-XI.</c:v>
                </c:pt>
                <c:pt idx="80">
                  <c:v>23-XI.</c:v>
                </c:pt>
                <c:pt idx="81">
                  <c:v>24-XI.</c:v>
                </c:pt>
                <c:pt idx="82">
                  <c:v>25-XI.</c:v>
                </c:pt>
                <c:pt idx="83">
                  <c:v>26-XI.</c:v>
                </c:pt>
                <c:pt idx="84">
                  <c:v>27-XI.</c:v>
                </c:pt>
                <c:pt idx="85">
                  <c:v>28-XI.</c:v>
                </c:pt>
                <c:pt idx="86">
                  <c:v>29-XI.</c:v>
                </c:pt>
                <c:pt idx="87">
                  <c:v>30-XI.</c:v>
                </c:pt>
                <c:pt idx="88">
                  <c:v>1-XII.</c:v>
                </c:pt>
                <c:pt idx="89">
                  <c:v>2-XII.</c:v>
                </c:pt>
                <c:pt idx="90">
                  <c:v>3-XII.</c:v>
                </c:pt>
                <c:pt idx="91">
                  <c:v>4-XII.</c:v>
                </c:pt>
                <c:pt idx="92">
                  <c:v>5-XII.</c:v>
                </c:pt>
                <c:pt idx="93">
                  <c:v>6-XII.</c:v>
                </c:pt>
                <c:pt idx="94">
                  <c:v>7-XII.</c:v>
                </c:pt>
                <c:pt idx="95">
                  <c:v>8-XII.</c:v>
                </c:pt>
                <c:pt idx="96">
                  <c:v>9-XII.</c:v>
                </c:pt>
                <c:pt idx="97">
                  <c:v>10-XII.</c:v>
                </c:pt>
                <c:pt idx="98">
                  <c:v>11-XII.</c:v>
                </c:pt>
                <c:pt idx="99">
                  <c:v>12-XII.</c:v>
                </c:pt>
                <c:pt idx="100">
                  <c:v>13-XII.</c:v>
                </c:pt>
                <c:pt idx="101">
                  <c:v>14-XII.</c:v>
                </c:pt>
                <c:pt idx="102">
                  <c:v>15-XII.</c:v>
                </c:pt>
                <c:pt idx="103">
                  <c:v>16-XII.</c:v>
                </c:pt>
                <c:pt idx="104">
                  <c:v>17-XII.</c:v>
                </c:pt>
                <c:pt idx="105">
                  <c:v>18-XII.</c:v>
                </c:pt>
                <c:pt idx="106">
                  <c:v>19-XII.</c:v>
                </c:pt>
                <c:pt idx="107">
                  <c:v>20-XII.</c:v>
                </c:pt>
                <c:pt idx="108">
                  <c:v>21-XII.</c:v>
                </c:pt>
                <c:pt idx="109">
                  <c:v>22-XII.</c:v>
                </c:pt>
                <c:pt idx="110">
                  <c:v>23-XII.</c:v>
                </c:pt>
                <c:pt idx="111">
                  <c:v>24-XII.</c:v>
                </c:pt>
                <c:pt idx="112">
                  <c:v>25-XII.</c:v>
                </c:pt>
                <c:pt idx="113">
                  <c:v>26-XII.</c:v>
                </c:pt>
                <c:pt idx="114">
                  <c:v>27-XII.</c:v>
                </c:pt>
                <c:pt idx="115">
                  <c:v>28-XII.</c:v>
                </c:pt>
                <c:pt idx="116">
                  <c:v>29-XII.</c:v>
                </c:pt>
                <c:pt idx="117">
                  <c:v>30-XII.</c:v>
                </c:pt>
                <c:pt idx="118">
                  <c:v>31-XII.</c:v>
                </c:pt>
                <c:pt idx="119">
                  <c:v>1-I.</c:v>
                </c:pt>
                <c:pt idx="120">
                  <c:v>2-I.</c:v>
                </c:pt>
                <c:pt idx="121">
                  <c:v>3-I.</c:v>
                </c:pt>
                <c:pt idx="122">
                  <c:v>4-I.</c:v>
                </c:pt>
                <c:pt idx="123">
                  <c:v>5-I.</c:v>
                </c:pt>
                <c:pt idx="124">
                  <c:v>6-I.</c:v>
                </c:pt>
                <c:pt idx="125">
                  <c:v>7-I.</c:v>
                </c:pt>
                <c:pt idx="126">
                  <c:v>8-I.</c:v>
                </c:pt>
                <c:pt idx="127">
                  <c:v>9-I.</c:v>
                </c:pt>
                <c:pt idx="128">
                  <c:v>10-I.</c:v>
                </c:pt>
                <c:pt idx="129">
                  <c:v>11-I.</c:v>
                </c:pt>
                <c:pt idx="130">
                  <c:v>12-I.</c:v>
                </c:pt>
                <c:pt idx="131">
                  <c:v>13-I.</c:v>
                </c:pt>
                <c:pt idx="132">
                  <c:v>14-I.</c:v>
                </c:pt>
                <c:pt idx="133">
                  <c:v>15-I.</c:v>
                </c:pt>
                <c:pt idx="134">
                  <c:v>16-I.</c:v>
                </c:pt>
                <c:pt idx="135">
                  <c:v>17-I.</c:v>
                </c:pt>
                <c:pt idx="136">
                  <c:v>18-I.</c:v>
                </c:pt>
                <c:pt idx="137">
                  <c:v>19-I.</c:v>
                </c:pt>
                <c:pt idx="138">
                  <c:v>20-I.</c:v>
                </c:pt>
                <c:pt idx="139">
                  <c:v>21-I.</c:v>
                </c:pt>
                <c:pt idx="140">
                  <c:v>22-I.</c:v>
                </c:pt>
                <c:pt idx="141">
                  <c:v>23-I.</c:v>
                </c:pt>
                <c:pt idx="142">
                  <c:v>24-I.</c:v>
                </c:pt>
                <c:pt idx="143">
                  <c:v>25-I.</c:v>
                </c:pt>
                <c:pt idx="144">
                  <c:v>26-I.</c:v>
                </c:pt>
                <c:pt idx="145">
                  <c:v>27-I.</c:v>
                </c:pt>
                <c:pt idx="146">
                  <c:v>28-I.</c:v>
                </c:pt>
                <c:pt idx="147">
                  <c:v>29-I.</c:v>
                </c:pt>
                <c:pt idx="148">
                  <c:v>30-I.</c:v>
                </c:pt>
                <c:pt idx="149">
                  <c:v>31-I.</c:v>
                </c:pt>
                <c:pt idx="150">
                  <c:v>1-II.</c:v>
                </c:pt>
                <c:pt idx="151">
                  <c:v>2-II.</c:v>
                </c:pt>
                <c:pt idx="152">
                  <c:v>3-II.</c:v>
                </c:pt>
                <c:pt idx="153">
                  <c:v>4-II.</c:v>
                </c:pt>
                <c:pt idx="154">
                  <c:v>5-II.</c:v>
                </c:pt>
                <c:pt idx="155">
                  <c:v>6-II.</c:v>
                </c:pt>
                <c:pt idx="156">
                  <c:v>7-II.</c:v>
                </c:pt>
                <c:pt idx="157">
                  <c:v>8-II.</c:v>
                </c:pt>
                <c:pt idx="158">
                  <c:v>9-II.</c:v>
                </c:pt>
                <c:pt idx="159">
                  <c:v>10-II.</c:v>
                </c:pt>
                <c:pt idx="160">
                  <c:v>11-II.</c:v>
                </c:pt>
                <c:pt idx="161">
                  <c:v>12-II.</c:v>
                </c:pt>
                <c:pt idx="162">
                  <c:v>13-II.</c:v>
                </c:pt>
                <c:pt idx="163">
                  <c:v>14-II.</c:v>
                </c:pt>
                <c:pt idx="164">
                  <c:v>15-II.</c:v>
                </c:pt>
                <c:pt idx="165">
                  <c:v>16-II.</c:v>
                </c:pt>
                <c:pt idx="166">
                  <c:v>17-II.</c:v>
                </c:pt>
                <c:pt idx="167">
                  <c:v>18-II.</c:v>
                </c:pt>
                <c:pt idx="168">
                  <c:v>19-II.</c:v>
                </c:pt>
                <c:pt idx="169">
                  <c:v>20-II.</c:v>
                </c:pt>
                <c:pt idx="170">
                  <c:v>21-II.</c:v>
                </c:pt>
                <c:pt idx="171">
                  <c:v>22-II.</c:v>
                </c:pt>
                <c:pt idx="172">
                  <c:v>23-II.</c:v>
                </c:pt>
                <c:pt idx="173">
                  <c:v>24-II.</c:v>
                </c:pt>
                <c:pt idx="174">
                  <c:v>25-II.</c:v>
                </c:pt>
                <c:pt idx="175">
                  <c:v>26-II.</c:v>
                </c:pt>
                <c:pt idx="176">
                  <c:v>27-II.</c:v>
                </c:pt>
                <c:pt idx="177">
                  <c:v>28-II.</c:v>
                </c:pt>
                <c:pt idx="178">
                  <c:v>1-III.</c:v>
                </c:pt>
                <c:pt idx="179">
                  <c:v>2-III.</c:v>
                </c:pt>
                <c:pt idx="180">
                  <c:v>3-III.</c:v>
                </c:pt>
                <c:pt idx="181">
                  <c:v>4-III.</c:v>
                </c:pt>
                <c:pt idx="182">
                  <c:v>5-III.</c:v>
                </c:pt>
                <c:pt idx="183">
                  <c:v>6-III.</c:v>
                </c:pt>
                <c:pt idx="184">
                  <c:v>7-III.</c:v>
                </c:pt>
                <c:pt idx="185">
                  <c:v>8-III.</c:v>
                </c:pt>
                <c:pt idx="186">
                  <c:v>9-III.</c:v>
                </c:pt>
                <c:pt idx="187">
                  <c:v>10-III.</c:v>
                </c:pt>
                <c:pt idx="188">
                  <c:v>11-III.</c:v>
                </c:pt>
                <c:pt idx="189">
                  <c:v>12-III.</c:v>
                </c:pt>
                <c:pt idx="190">
                  <c:v>13-III.</c:v>
                </c:pt>
                <c:pt idx="191">
                  <c:v>14-III.</c:v>
                </c:pt>
                <c:pt idx="192">
                  <c:v>15-III.</c:v>
                </c:pt>
                <c:pt idx="193">
                  <c:v>16-III.</c:v>
                </c:pt>
                <c:pt idx="194">
                  <c:v>17-III.</c:v>
                </c:pt>
                <c:pt idx="195">
                  <c:v>18-III.</c:v>
                </c:pt>
                <c:pt idx="196">
                  <c:v>19-III.</c:v>
                </c:pt>
                <c:pt idx="197">
                  <c:v>20-III.</c:v>
                </c:pt>
                <c:pt idx="198">
                  <c:v>21-III.</c:v>
                </c:pt>
                <c:pt idx="199">
                  <c:v>22-III.</c:v>
                </c:pt>
                <c:pt idx="200">
                  <c:v>23-III.</c:v>
                </c:pt>
                <c:pt idx="201">
                  <c:v>24-III.</c:v>
                </c:pt>
                <c:pt idx="202">
                  <c:v>25-III.</c:v>
                </c:pt>
                <c:pt idx="203">
                  <c:v>26-III.</c:v>
                </c:pt>
                <c:pt idx="204">
                  <c:v>27-III.</c:v>
                </c:pt>
                <c:pt idx="205">
                  <c:v>28-III.</c:v>
                </c:pt>
                <c:pt idx="206">
                  <c:v>29-III.</c:v>
                </c:pt>
                <c:pt idx="207">
                  <c:v>30-III.</c:v>
                </c:pt>
                <c:pt idx="208">
                  <c:v>31-III.</c:v>
                </c:pt>
                <c:pt idx="209">
                  <c:v>1-IV.</c:v>
                </c:pt>
                <c:pt idx="210">
                  <c:v>2-IV.</c:v>
                </c:pt>
                <c:pt idx="211">
                  <c:v>3-IV.</c:v>
                </c:pt>
                <c:pt idx="212">
                  <c:v>4-IV.</c:v>
                </c:pt>
                <c:pt idx="213">
                  <c:v>5-IV.</c:v>
                </c:pt>
                <c:pt idx="214">
                  <c:v>6-IV.</c:v>
                </c:pt>
                <c:pt idx="215">
                  <c:v>7-IV.</c:v>
                </c:pt>
                <c:pt idx="216">
                  <c:v>8-IV.</c:v>
                </c:pt>
                <c:pt idx="217">
                  <c:v>9-IV.</c:v>
                </c:pt>
                <c:pt idx="218">
                  <c:v>10-IV.</c:v>
                </c:pt>
                <c:pt idx="219">
                  <c:v>11-IV.</c:v>
                </c:pt>
                <c:pt idx="220">
                  <c:v>12-IV.</c:v>
                </c:pt>
                <c:pt idx="221">
                  <c:v>13-IV.</c:v>
                </c:pt>
                <c:pt idx="222">
                  <c:v>14-IV.</c:v>
                </c:pt>
                <c:pt idx="223">
                  <c:v>15-IV.</c:v>
                </c:pt>
                <c:pt idx="224">
                  <c:v>16-IV.</c:v>
                </c:pt>
                <c:pt idx="225">
                  <c:v>17-IV.</c:v>
                </c:pt>
                <c:pt idx="226">
                  <c:v>18-IV.</c:v>
                </c:pt>
                <c:pt idx="227">
                  <c:v>19-IV.</c:v>
                </c:pt>
                <c:pt idx="228">
                  <c:v>20-IV.</c:v>
                </c:pt>
                <c:pt idx="229">
                  <c:v>21-IV.</c:v>
                </c:pt>
                <c:pt idx="230">
                  <c:v>22-IV.</c:v>
                </c:pt>
                <c:pt idx="231">
                  <c:v>23-IV.</c:v>
                </c:pt>
                <c:pt idx="232">
                  <c:v>24-IV.</c:v>
                </c:pt>
                <c:pt idx="233">
                  <c:v>25-IV.</c:v>
                </c:pt>
                <c:pt idx="234">
                  <c:v>26-IV.</c:v>
                </c:pt>
                <c:pt idx="235">
                  <c:v>27-IV.</c:v>
                </c:pt>
                <c:pt idx="236">
                  <c:v>28-IV.</c:v>
                </c:pt>
                <c:pt idx="237">
                  <c:v>29-IV.</c:v>
                </c:pt>
                <c:pt idx="238">
                  <c:v>30-IV.</c:v>
                </c:pt>
                <c:pt idx="239">
                  <c:v>1-V.</c:v>
                </c:pt>
                <c:pt idx="240">
                  <c:v>2-V.</c:v>
                </c:pt>
                <c:pt idx="241">
                  <c:v>3-V.</c:v>
                </c:pt>
                <c:pt idx="242">
                  <c:v>4-V.</c:v>
                </c:pt>
                <c:pt idx="243">
                  <c:v>5-V.</c:v>
                </c:pt>
                <c:pt idx="244">
                  <c:v>6-V.</c:v>
                </c:pt>
                <c:pt idx="245">
                  <c:v>7-V.</c:v>
                </c:pt>
                <c:pt idx="246">
                  <c:v>8-V.</c:v>
                </c:pt>
                <c:pt idx="247">
                  <c:v>9-V.</c:v>
                </c:pt>
                <c:pt idx="248">
                  <c:v>10-V.</c:v>
                </c:pt>
                <c:pt idx="249">
                  <c:v>11-V.</c:v>
                </c:pt>
                <c:pt idx="250">
                  <c:v>12-V.</c:v>
                </c:pt>
                <c:pt idx="251">
                  <c:v>13-V.</c:v>
                </c:pt>
                <c:pt idx="252">
                  <c:v>14-V.</c:v>
                </c:pt>
                <c:pt idx="253">
                  <c:v>15-V.</c:v>
                </c:pt>
                <c:pt idx="254">
                  <c:v>16-V.</c:v>
                </c:pt>
                <c:pt idx="255">
                  <c:v>17-V.</c:v>
                </c:pt>
                <c:pt idx="256">
                  <c:v>18-V.</c:v>
                </c:pt>
                <c:pt idx="257">
                  <c:v>19-V.</c:v>
                </c:pt>
                <c:pt idx="258">
                  <c:v>20-V.</c:v>
                </c:pt>
                <c:pt idx="259">
                  <c:v>21-V.</c:v>
                </c:pt>
                <c:pt idx="260">
                  <c:v>22-V.</c:v>
                </c:pt>
                <c:pt idx="261">
                  <c:v>23-V.</c:v>
                </c:pt>
                <c:pt idx="262">
                  <c:v>24-V.</c:v>
                </c:pt>
                <c:pt idx="263">
                  <c:v>25-V.</c:v>
                </c:pt>
                <c:pt idx="264">
                  <c:v>26-V.</c:v>
                </c:pt>
                <c:pt idx="265">
                  <c:v>27-V.</c:v>
                </c:pt>
                <c:pt idx="266">
                  <c:v>28-V.</c:v>
                </c:pt>
                <c:pt idx="267">
                  <c:v>29-V.</c:v>
                </c:pt>
                <c:pt idx="268">
                  <c:v>30-V.</c:v>
                </c:pt>
                <c:pt idx="269">
                  <c:v>31-V.</c:v>
                </c:pt>
                <c:pt idx="270">
                  <c:v>1-VI.</c:v>
                </c:pt>
                <c:pt idx="271">
                  <c:v>2-VI.</c:v>
                </c:pt>
                <c:pt idx="272">
                  <c:v>3-VI.</c:v>
                </c:pt>
                <c:pt idx="273">
                  <c:v>4-VI.</c:v>
                </c:pt>
              </c:strCache>
            </c:strRef>
          </c:cat>
          <c:val>
            <c:numRef>
              <c:f>Sheet1!$B$2:$B$275</c:f>
              <c:numCache>
                <c:formatCode>#\ ##0_ ;\-#\ ##0\ </c:formatCode>
                <c:ptCount val="274"/>
                <c:pt idx="0">
                  <c:v>28</c:v>
                </c:pt>
                <c:pt idx="1">
                  <c:v>23</c:v>
                </c:pt>
                <c:pt idx="2">
                  <c:v>9</c:v>
                </c:pt>
                <c:pt idx="3">
                  <c:v>24</c:v>
                </c:pt>
                <c:pt idx="4">
                  <c:v>55</c:v>
                </c:pt>
                <c:pt idx="5">
                  <c:v>69</c:v>
                </c:pt>
                <c:pt idx="6">
                  <c:v>93</c:v>
                </c:pt>
                <c:pt idx="7">
                  <c:v>62</c:v>
                </c:pt>
                <c:pt idx="8">
                  <c:v>50</c:v>
                </c:pt>
                <c:pt idx="9">
                  <c:v>41</c:v>
                </c:pt>
                <c:pt idx="10">
                  <c:v>67</c:v>
                </c:pt>
                <c:pt idx="11">
                  <c:v>118</c:v>
                </c:pt>
                <c:pt idx="12">
                  <c:v>128</c:v>
                </c:pt>
                <c:pt idx="13">
                  <c:v>163</c:v>
                </c:pt>
                <c:pt idx="14">
                  <c:v>100</c:v>
                </c:pt>
                <c:pt idx="15">
                  <c:v>103</c:v>
                </c:pt>
                <c:pt idx="16">
                  <c:v>46</c:v>
                </c:pt>
                <c:pt idx="17">
                  <c:v>85</c:v>
                </c:pt>
                <c:pt idx="18">
                  <c:v>140</c:v>
                </c:pt>
                <c:pt idx="19">
                  <c:v>115</c:v>
                </c:pt>
                <c:pt idx="20">
                  <c:v>136</c:v>
                </c:pt>
                <c:pt idx="21">
                  <c:v>150</c:v>
                </c:pt>
                <c:pt idx="22">
                  <c:v>110</c:v>
                </c:pt>
                <c:pt idx="23">
                  <c:v>67</c:v>
                </c:pt>
                <c:pt idx="24">
                  <c:v>68</c:v>
                </c:pt>
                <c:pt idx="25">
                  <c:v>111</c:v>
                </c:pt>
                <c:pt idx="26">
                  <c:v>155</c:v>
                </c:pt>
                <c:pt idx="27">
                  <c:v>201</c:v>
                </c:pt>
                <c:pt idx="28">
                  <c:v>177</c:v>
                </c:pt>
                <c:pt idx="29">
                  <c:v>132</c:v>
                </c:pt>
                <c:pt idx="30">
                  <c:v>86</c:v>
                </c:pt>
                <c:pt idx="31">
                  <c:v>153</c:v>
                </c:pt>
                <c:pt idx="32">
                  <c:v>261</c:v>
                </c:pt>
                <c:pt idx="33">
                  <c:v>274</c:v>
                </c:pt>
                <c:pt idx="34">
                  <c:v>266</c:v>
                </c:pt>
                <c:pt idx="35">
                  <c:v>366</c:v>
                </c:pt>
                <c:pt idx="36">
                  <c:v>211</c:v>
                </c:pt>
                <c:pt idx="37">
                  <c:v>159</c:v>
                </c:pt>
                <c:pt idx="38">
                  <c:v>204</c:v>
                </c:pt>
                <c:pt idx="39">
                  <c:v>448</c:v>
                </c:pt>
                <c:pt idx="40">
                  <c:v>464</c:v>
                </c:pt>
                <c:pt idx="41">
                  <c:v>458</c:v>
                </c:pt>
                <c:pt idx="42">
                  <c:v>453</c:v>
                </c:pt>
                <c:pt idx="43">
                  <c:v>350</c:v>
                </c:pt>
                <c:pt idx="44">
                  <c:v>239</c:v>
                </c:pt>
                <c:pt idx="45">
                  <c:v>323</c:v>
                </c:pt>
                <c:pt idx="46">
                  <c:v>494</c:v>
                </c:pt>
                <c:pt idx="47">
                  <c:v>612</c:v>
                </c:pt>
                <c:pt idx="48">
                  <c:v>538</c:v>
                </c:pt>
                <c:pt idx="49">
                  <c:v>576</c:v>
                </c:pt>
                <c:pt idx="50">
                  <c:v>489</c:v>
                </c:pt>
                <c:pt idx="51">
                  <c:v>313</c:v>
                </c:pt>
                <c:pt idx="52">
                  <c:v>340</c:v>
                </c:pt>
                <c:pt idx="53">
                  <c:v>520</c:v>
                </c:pt>
                <c:pt idx="54">
                  <c:v>443</c:v>
                </c:pt>
                <c:pt idx="55">
                  <c:v>433</c:v>
                </c:pt>
                <c:pt idx="56">
                  <c:v>395</c:v>
                </c:pt>
                <c:pt idx="57">
                  <c:v>358</c:v>
                </c:pt>
                <c:pt idx="58">
                  <c:v>207</c:v>
                </c:pt>
                <c:pt idx="59">
                  <c:v>288</c:v>
                </c:pt>
                <c:pt idx="60">
                  <c:v>296</c:v>
                </c:pt>
                <c:pt idx="61">
                  <c:v>418</c:v>
                </c:pt>
                <c:pt idx="62">
                  <c:v>350</c:v>
                </c:pt>
                <c:pt idx="63">
                  <c:v>261</c:v>
                </c:pt>
                <c:pt idx="64">
                  <c:v>214</c:v>
                </c:pt>
                <c:pt idx="65">
                  <c:v>91</c:v>
                </c:pt>
                <c:pt idx="66">
                  <c:v>154</c:v>
                </c:pt>
                <c:pt idx="67">
                  <c:v>217</c:v>
                </c:pt>
                <c:pt idx="68">
                  <c:v>203</c:v>
                </c:pt>
                <c:pt idx="69">
                  <c:v>172</c:v>
                </c:pt>
                <c:pt idx="70">
                  <c:v>173</c:v>
                </c:pt>
                <c:pt idx="71">
                  <c:v>113</c:v>
                </c:pt>
                <c:pt idx="72">
                  <c:v>44</c:v>
                </c:pt>
                <c:pt idx="73">
                  <c:v>127</c:v>
                </c:pt>
                <c:pt idx="74">
                  <c:v>126</c:v>
                </c:pt>
                <c:pt idx="75">
                  <c:v>132</c:v>
                </c:pt>
                <c:pt idx="76">
                  <c:v>184</c:v>
                </c:pt>
                <c:pt idx="77">
                  <c:v>172</c:v>
                </c:pt>
                <c:pt idx="78">
                  <c:v>88</c:v>
                </c:pt>
                <c:pt idx="79">
                  <c:v>34</c:v>
                </c:pt>
                <c:pt idx="80">
                  <c:v>103</c:v>
                </c:pt>
                <c:pt idx="81">
                  <c:v>159</c:v>
                </c:pt>
                <c:pt idx="82">
                  <c:v>159</c:v>
                </c:pt>
                <c:pt idx="83">
                  <c:v>109</c:v>
                </c:pt>
                <c:pt idx="84">
                  <c:v>123</c:v>
                </c:pt>
                <c:pt idx="85">
                  <c:v>77</c:v>
                </c:pt>
                <c:pt idx="86">
                  <c:v>26</c:v>
                </c:pt>
                <c:pt idx="87">
                  <c:v>119</c:v>
                </c:pt>
                <c:pt idx="88">
                  <c:v>201</c:v>
                </c:pt>
                <c:pt idx="89">
                  <c:v>172</c:v>
                </c:pt>
                <c:pt idx="90">
                  <c:v>155</c:v>
                </c:pt>
                <c:pt idx="91">
                  <c:v>181</c:v>
                </c:pt>
                <c:pt idx="92">
                  <c:v>120</c:v>
                </c:pt>
                <c:pt idx="93">
                  <c:v>40</c:v>
                </c:pt>
                <c:pt idx="94">
                  <c:v>191</c:v>
                </c:pt>
                <c:pt idx="95">
                  <c:v>307</c:v>
                </c:pt>
                <c:pt idx="96">
                  <c:v>286</c:v>
                </c:pt>
                <c:pt idx="97">
                  <c:v>268</c:v>
                </c:pt>
                <c:pt idx="98">
                  <c:v>272</c:v>
                </c:pt>
                <c:pt idx="99">
                  <c:v>130</c:v>
                </c:pt>
                <c:pt idx="100">
                  <c:v>78</c:v>
                </c:pt>
                <c:pt idx="101">
                  <c:v>236</c:v>
                </c:pt>
                <c:pt idx="102">
                  <c:v>385</c:v>
                </c:pt>
                <c:pt idx="103">
                  <c:v>361</c:v>
                </c:pt>
                <c:pt idx="104">
                  <c:v>323</c:v>
                </c:pt>
                <c:pt idx="105">
                  <c:v>317</c:v>
                </c:pt>
                <c:pt idx="106">
                  <c:v>194</c:v>
                </c:pt>
                <c:pt idx="107">
                  <c:v>123</c:v>
                </c:pt>
                <c:pt idx="108">
                  <c:v>284</c:v>
                </c:pt>
                <c:pt idx="109">
                  <c:v>401</c:v>
                </c:pt>
                <c:pt idx="110">
                  <c:v>462</c:v>
                </c:pt>
                <c:pt idx="111">
                  <c:v>148</c:v>
                </c:pt>
                <c:pt idx="112">
                  <c:v>90</c:v>
                </c:pt>
                <c:pt idx="113">
                  <c:v>108</c:v>
                </c:pt>
                <c:pt idx="114">
                  <c:v>127</c:v>
                </c:pt>
                <c:pt idx="115">
                  <c:v>343</c:v>
                </c:pt>
                <c:pt idx="116">
                  <c:v>529</c:v>
                </c:pt>
                <c:pt idx="117">
                  <c:v>433</c:v>
                </c:pt>
                <c:pt idx="118">
                  <c:v>349</c:v>
                </c:pt>
                <c:pt idx="119">
                  <c:v>93</c:v>
                </c:pt>
                <c:pt idx="120">
                  <c:v>150</c:v>
                </c:pt>
                <c:pt idx="121">
                  <c:v>191</c:v>
                </c:pt>
                <c:pt idx="122">
                  <c:v>376</c:v>
                </c:pt>
                <c:pt idx="123">
                  <c:v>570</c:v>
                </c:pt>
                <c:pt idx="124">
                  <c:v>525</c:v>
                </c:pt>
                <c:pt idx="125">
                  <c:v>380</c:v>
                </c:pt>
                <c:pt idx="126">
                  <c:v>364</c:v>
                </c:pt>
                <c:pt idx="127">
                  <c:v>244</c:v>
                </c:pt>
                <c:pt idx="128">
                  <c:v>139</c:v>
                </c:pt>
                <c:pt idx="129">
                  <c:v>258</c:v>
                </c:pt>
                <c:pt idx="130">
                  <c:v>358</c:v>
                </c:pt>
                <c:pt idx="131">
                  <c:v>375</c:v>
                </c:pt>
                <c:pt idx="132">
                  <c:v>261</c:v>
                </c:pt>
                <c:pt idx="133">
                  <c:v>337</c:v>
                </c:pt>
                <c:pt idx="134">
                  <c:v>184</c:v>
                </c:pt>
                <c:pt idx="135">
                  <c:v>81</c:v>
                </c:pt>
                <c:pt idx="136">
                  <c:v>244</c:v>
                </c:pt>
                <c:pt idx="137">
                  <c:v>316</c:v>
                </c:pt>
                <c:pt idx="138">
                  <c:v>265</c:v>
                </c:pt>
                <c:pt idx="139">
                  <c:v>246</c:v>
                </c:pt>
                <c:pt idx="140">
                  <c:v>285</c:v>
                </c:pt>
                <c:pt idx="141">
                  <c:v>121</c:v>
                </c:pt>
                <c:pt idx="142">
                  <c:v>82</c:v>
                </c:pt>
                <c:pt idx="143">
                  <c:v>222</c:v>
                </c:pt>
                <c:pt idx="144">
                  <c:v>325</c:v>
                </c:pt>
                <c:pt idx="145">
                  <c:v>323</c:v>
                </c:pt>
                <c:pt idx="146">
                  <c:v>230</c:v>
                </c:pt>
                <c:pt idx="147">
                  <c:v>257</c:v>
                </c:pt>
                <c:pt idx="148">
                  <c:v>119</c:v>
                </c:pt>
                <c:pt idx="149">
                  <c:v>110</c:v>
                </c:pt>
                <c:pt idx="150">
                  <c:v>240</c:v>
                </c:pt>
                <c:pt idx="151">
                  <c:v>308</c:v>
                </c:pt>
                <c:pt idx="152">
                  <c:v>305</c:v>
                </c:pt>
                <c:pt idx="153">
                  <c:v>264</c:v>
                </c:pt>
                <c:pt idx="154">
                  <c:v>244</c:v>
                </c:pt>
                <c:pt idx="155">
                  <c:v>170</c:v>
                </c:pt>
                <c:pt idx="156">
                  <c:v>88</c:v>
                </c:pt>
                <c:pt idx="157">
                  <c:v>260</c:v>
                </c:pt>
                <c:pt idx="158">
                  <c:v>320</c:v>
                </c:pt>
                <c:pt idx="159">
                  <c:v>321</c:v>
                </c:pt>
                <c:pt idx="160" formatCode="General">
                  <c:v>302</c:v>
                </c:pt>
                <c:pt idx="161" formatCode="General">
                  <c:v>288</c:v>
                </c:pt>
                <c:pt idx="162" formatCode="General">
                  <c:v>174</c:v>
                </c:pt>
                <c:pt idx="163" formatCode="General">
                  <c:v>79</c:v>
                </c:pt>
                <c:pt idx="164" formatCode="General">
                  <c:v>303</c:v>
                </c:pt>
                <c:pt idx="165" formatCode="General">
                  <c:v>442</c:v>
                </c:pt>
                <c:pt idx="166" formatCode="General">
                  <c:v>345</c:v>
                </c:pt>
                <c:pt idx="167" formatCode="General">
                  <c:v>373</c:v>
                </c:pt>
                <c:pt idx="168" formatCode="General">
                  <c:v>371</c:v>
                </c:pt>
                <c:pt idx="169" formatCode="General">
                  <c:v>225</c:v>
                </c:pt>
                <c:pt idx="170" formatCode="General">
                  <c:v>148</c:v>
                </c:pt>
                <c:pt idx="171" formatCode="General">
                  <c:v>345</c:v>
                </c:pt>
                <c:pt idx="172" formatCode="General">
                  <c:v>482</c:v>
                </c:pt>
                <c:pt idx="173" formatCode="General">
                  <c:v>417</c:v>
                </c:pt>
                <c:pt idx="174" formatCode="General">
                  <c:v>472</c:v>
                </c:pt>
                <c:pt idx="175" formatCode="General">
                  <c:v>398</c:v>
                </c:pt>
                <c:pt idx="176" formatCode="General">
                  <c:v>261</c:v>
                </c:pt>
                <c:pt idx="177" formatCode="General">
                  <c:v>150</c:v>
                </c:pt>
                <c:pt idx="178" formatCode="General">
                  <c:v>327</c:v>
                </c:pt>
                <c:pt idx="179" formatCode="General">
                  <c:v>451</c:v>
                </c:pt>
                <c:pt idx="180" formatCode="General">
                  <c:v>394</c:v>
                </c:pt>
                <c:pt idx="181" formatCode="General">
                  <c:v>413</c:v>
                </c:pt>
                <c:pt idx="182" formatCode="General">
                  <c:v>320</c:v>
                </c:pt>
                <c:pt idx="183" formatCode="General">
                  <c:v>251</c:v>
                </c:pt>
                <c:pt idx="184" formatCode="General">
                  <c:v>93</c:v>
                </c:pt>
                <c:pt idx="185" formatCode="General">
                  <c:v>227</c:v>
                </c:pt>
                <c:pt idx="186" formatCode="General">
                  <c:v>310</c:v>
                </c:pt>
                <c:pt idx="187" formatCode="General">
                  <c:v>308</c:v>
                </c:pt>
                <c:pt idx="188" formatCode="General">
                  <c:v>223</c:v>
                </c:pt>
                <c:pt idx="189" formatCode="General">
                  <c:v>307</c:v>
                </c:pt>
                <c:pt idx="190" formatCode="General">
                  <c:v>147</c:v>
                </c:pt>
                <c:pt idx="191" formatCode="General">
                  <c:v>59</c:v>
                </c:pt>
                <c:pt idx="192" formatCode="General">
                  <c:v>206</c:v>
                </c:pt>
                <c:pt idx="193" formatCode="General">
                  <c:v>269</c:v>
                </c:pt>
                <c:pt idx="194" formatCode="General">
                  <c:v>243</c:v>
                </c:pt>
                <c:pt idx="195" formatCode="General">
                  <c:v>187</c:v>
                </c:pt>
                <c:pt idx="196" formatCode="General">
                  <c:v>180</c:v>
                </c:pt>
                <c:pt idx="197" formatCode="General">
                  <c:v>94</c:v>
                </c:pt>
                <c:pt idx="198" formatCode="General">
                  <c:v>36</c:v>
                </c:pt>
                <c:pt idx="199" formatCode="General">
                  <c:v>131</c:v>
                </c:pt>
                <c:pt idx="200" formatCode="General">
                  <c:v>201</c:v>
                </c:pt>
                <c:pt idx="201" formatCode="General">
                  <c:v>119</c:v>
                </c:pt>
                <c:pt idx="202" formatCode="General">
                  <c:v>152</c:v>
                </c:pt>
                <c:pt idx="203" formatCode="General">
                  <c:v>125</c:v>
                </c:pt>
                <c:pt idx="204" formatCode="General">
                  <c:v>73</c:v>
                </c:pt>
                <c:pt idx="205" formatCode="General">
                  <c:v>35</c:v>
                </c:pt>
                <c:pt idx="206" formatCode="General">
                  <c:v>113</c:v>
                </c:pt>
                <c:pt idx="207" formatCode="General">
                  <c:v>140</c:v>
                </c:pt>
                <c:pt idx="208" formatCode="General">
                  <c:v>110</c:v>
                </c:pt>
                <c:pt idx="209" formatCode="General">
                  <c:v>82</c:v>
                </c:pt>
                <c:pt idx="210" formatCode="General">
                  <c:v>55</c:v>
                </c:pt>
                <c:pt idx="211" formatCode="General">
                  <c:v>34</c:v>
                </c:pt>
                <c:pt idx="212" formatCode="General">
                  <c:v>35</c:v>
                </c:pt>
                <c:pt idx="213" formatCode="General">
                  <c:v>17</c:v>
                </c:pt>
                <c:pt idx="214" formatCode="General">
                  <c:v>105</c:v>
                </c:pt>
                <c:pt idx="215" formatCode="General">
                  <c:v>118</c:v>
                </c:pt>
                <c:pt idx="216" formatCode="General">
                  <c:v>102</c:v>
                </c:pt>
                <c:pt idx="217" formatCode="General">
                  <c:v>79</c:v>
                </c:pt>
                <c:pt idx="218" formatCode="General">
                  <c:v>34</c:v>
                </c:pt>
                <c:pt idx="219" formatCode="General">
                  <c:v>24</c:v>
                </c:pt>
                <c:pt idx="220" formatCode="General">
                  <c:v>65</c:v>
                </c:pt>
                <c:pt idx="221" formatCode="General">
                  <c:v>85</c:v>
                </c:pt>
                <c:pt idx="222" formatCode="General">
                  <c:v>49</c:v>
                </c:pt>
                <c:pt idx="223" formatCode="General">
                  <c:v>50</c:v>
                </c:pt>
                <c:pt idx="224" formatCode="General">
                  <c:v>45</c:v>
                </c:pt>
                <c:pt idx="225" formatCode="General">
                  <c:v>21</c:v>
                </c:pt>
                <c:pt idx="226" formatCode="General">
                  <c:v>11</c:v>
                </c:pt>
                <c:pt idx="227" formatCode="General">
                  <c:v>65</c:v>
                </c:pt>
                <c:pt idx="228" formatCode="General">
                  <c:v>61</c:v>
                </c:pt>
                <c:pt idx="229" formatCode="General">
                  <c:v>41</c:v>
                </c:pt>
                <c:pt idx="230" formatCode="General">
                  <c:v>37</c:v>
                </c:pt>
                <c:pt idx="231" formatCode="General">
                  <c:v>50</c:v>
                </c:pt>
                <c:pt idx="232" formatCode="General">
                  <c:v>11</c:v>
                </c:pt>
                <c:pt idx="233" formatCode="General">
                  <c:v>13</c:v>
                </c:pt>
                <c:pt idx="234" formatCode="General">
                  <c:v>39</c:v>
                </c:pt>
                <c:pt idx="235" formatCode="General">
                  <c:v>43</c:v>
                </c:pt>
                <c:pt idx="236" formatCode="General">
                  <c:v>34</c:v>
                </c:pt>
                <c:pt idx="237" formatCode="General">
                  <c:v>26</c:v>
                </c:pt>
                <c:pt idx="238" formatCode="General">
                  <c:v>36</c:v>
                </c:pt>
                <c:pt idx="239" formatCode="General">
                  <c:v>15</c:v>
                </c:pt>
                <c:pt idx="240" formatCode="General">
                  <c:v>7</c:v>
                </c:pt>
                <c:pt idx="241" formatCode="General">
                  <c:v>35</c:v>
                </c:pt>
                <c:pt idx="242" formatCode="General">
                  <c:v>32</c:v>
                </c:pt>
                <c:pt idx="243" formatCode="General">
                  <c:v>27</c:v>
                </c:pt>
                <c:pt idx="244" formatCode="General">
                  <c:v>15</c:v>
                </c:pt>
                <c:pt idx="245" formatCode="General">
                  <c:v>21</c:v>
                </c:pt>
                <c:pt idx="246" formatCode="General">
                  <c:v>8</c:v>
                </c:pt>
                <c:pt idx="247" formatCode="General">
                  <c:v>3</c:v>
                </c:pt>
                <c:pt idx="248" formatCode="General">
                  <c:v>21</c:v>
                </c:pt>
                <c:pt idx="249" formatCode="General">
                  <c:v>29</c:v>
                </c:pt>
                <c:pt idx="250" formatCode="General">
                  <c:v>9</c:v>
                </c:pt>
                <c:pt idx="251" formatCode="General">
                  <c:v>17</c:v>
                </c:pt>
                <c:pt idx="252" formatCode="General">
                  <c:v>18</c:v>
                </c:pt>
                <c:pt idx="253" formatCode="General">
                  <c:v>7</c:v>
                </c:pt>
                <c:pt idx="254" formatCode="General">
                  <c:v>4</c:v>
                </c:pt>
                <c:pt idx="255" formatCode="General">
                  <c:v>17</c:v>
                </c:pt>
                <c:pt idx="256" formatCode="General">
                  <c:v>14</c:v>
                </c:pt>
                <c:pt idx="257" formatCode="General">
                  <c:v>10</c:v>
                </c:pt>
                <c:pt idx="258" formatCode="General">
                  <c:v>11</c:v>
                </c:pt>
                <c:pt idx="259" formatCode="General">
                  <c:v>12</c:v>
                </c:pt>
                <c:pt idx="260" formatCode="General">
                  <c:v>4</c:v>
                </c:pt>
                <c:pt idx="261" formatCode="General">
                  <c:v>2</c:v>
                </c:pt>
                <c:pt idx="262" formatCode="General">
                  <c:v>17</c:v>
                </c:pt>
                <c:pt idx="263" formatCode="General">
                  <c:v>15</c:v>
                </c:pt>
                <c:pt idx="264" formatCode="General">
                  <c:v>13</c:v>
                </c:pt>
                <c:pt idx="265" formatCode="General">
                  <c:v>4</c:v>
                </c:pt>
                <c:pt idx="266" formatCode="General">
                  <c:v>3</c:v>
                </c:pt>
                <c:pt idx="267" formatCode="General">
                  <c:v>4</c:v>
                </c:pt>
                <c:pt idx="268" formatCode="General">
                  <c:v>1</c:v>
                </c:pt>
                <c:pt idx="269" formatCode="General">
                  <c:v>4</c:v>
                </c:pt>
                <c:pt idx="270" formatCode="General">
                  <c:v>8</c:v>
                </c:pt>
                <c:pt idx="271" formatCode="General">
                  <c:v>3</c:v>
                </c:pt>
                <c:pt idx="272" formatCode="General">
                  <c:v>4</c:v>
                </c:pt>
                <c:pt idx="273" formatCode="General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catAx>
        <c:axId val="529925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Algn val="ctr"/>
        <c:lblOffset val="100"/>
        <c:tickLblSkip val="7"/>
        <c:noMultiLvlLbl val="1"/>
      </c:cat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068264342774141E-2</c:v>
                </c:pt>
                <c:pt idx="1">
                  <c:v>7.715491259795057E-2</c:v>
                </c:pt>
                <c:pt idx="2">
                  <c:v>9.1127922971114161E-2</c:v>
                </c:pt>
                <c:pt idx="3">
                  <c:v>7.754118119726798E-2</c:v>
                </c:pt>
                <c:pt idx="4">
                  <c:v>0.13089937666963491</c:v>
                </c:pt>
                <c:pt idx="5">
                  <c:v>6.775186977562693E-2</c:v>
                </c:pt>
                <c:pt idx="6">
                  <c:v>9.5685604442545924E-2</c:v>
                </c:pt>
                <c:pt idx="7">
                  <c:v>9.8620689655172414E-2</c:v>
                </c:pt>
                <c:pt idx="8">
                  <c:v>0.1145956607495069</c:v>
                </c:pt>
                <c:pt idx="9">
                  <c:v>8.689047546711226E-2</c:v>
                </c:pt>
                <c:pt idx="10">
                  <c:v>0.15590370653419947</c:v>
                </c:pt>
                <c:pt idx="11">
                  <c:v>0.16857855361596011</c:v>
                </c:pt>
                <c:pt idx="12">
                  <c:v>7.4589979779824761E-2</c:v>
                </c:pt>
                <c:pt idx="13">
                  <c:v>8.8331008833100882E-2</c:v>
                </c:pt>
                <c:pt idx="14">
                  <c:v>0.12511848341232226</c:v>
                </c:pt>
                <c:pt idx="15">
                  <c:v>0.18131036890492261</c:v>
                </c:pt>
                <c:pt idx="16">
                  <c:v>0.14157873647655936</c:v>
                </c:pt>
                <c:pt idx="17">
                  <c:v>0.14793402482570991</c:v>
                </c:pt>
                <c:pt idx="18">
                  <c:v>0.11461402474955805</c:v>
                </c:pt>
                <c:pt idx="19">
                  <c:v>9.3676447512945238E-2</c:v>
                </c:pt>
                <c:pt idx="20">
                  <c:v>0.13881190504880106</c:v>
                </c:pt>
                <c:pt idx="21">
                  <c:v>0.13670686351853939</c:v>
                </c:pt>
                <c:pt idx="22">
                  <c:v>0.15420109453804057</c:v>
                </c:pt>
                <c:pt idx="23">
                  <c:v>0.17142556105784426</c:v>
                </c:pt>
                <c:pt idx="24">
                  <c:v>0.15963219776906842</c:v>
                </c:pt>
                <c:pt idx="25">
                  <c:v>0.15120355223182988</c:v>
                </c:pt>
                <c:pt idx="26">
                  <c:v>0.14407456724367509</c:v>
                </c:pt>
                <c:pt idx="27">
                  <c:v>0.14664586583463338</c:v>
                </c:pt>
                <c:pt idx="28">
                  <c:v>0.1777306468716861</c:v>
                </c:pt>
                <c:pt idx="29">
                  <c:v>0.20695380408242992</c:v>
                </c:pt>
                <c:pt idx="30">
                  <c:v>0.21121513183034007</c:v>
                </c:pt>
                <c:pt idx="31">
                  <c:v>0.21996041843370087</c:v>
                </c:pt>
                <c:pt idx="32">
                  <c:v>0.26138189608998391</c:v>
                </c:pt>
                <c:pt idx="33">
                  <c:v>0.2425729081493595</c:v>
                </c:pt>
                <c:pt idx="34">
                  <c:v>0.24219610723466764</c:v>
                </c:pt>
                <c:pt idx="35">
                  <c:v>0.27578857630008524</c:v>
                </c:pt>
                <c:pt idx="36">
                  <c:v>0.28456431535269711</c:v>
                </c:pt>
                <c:pt idx="37">
                  <c:v>0.39624454794115471</c:v>
                </c:pt>
                <c:pt idx="38">
                  <c:v>0.32755632582322358</c:v>
                </c:pt>
                <c:pt idx="39">
                  <c:v>0.34195348837209305</c:v>
                </c:pt>
                <c:pt idx="40">
                  <c:v>0.25889096864763689</c:v>
                </c:pt>
                <c:pt idx="41">
                  <c:v>0.32824723605094719</c:v>
                </c:pt>
                <c:pt idx="42">
                  <c:v>0.34799022873639796</c:v>
                </c:pt>
                <c:pt idx="43">
                  <c:v>0.352140742427693</c:v>
                </c:pt>
                <c:pt idx="44">
                  <c:v>0.35702241618726444</c:v>
                </c:pt>
                <c:pt idx="45">
                  <c:v>0.36578426521523999</c:v>
                </c:pt>
                <c:pt idx="46">
                  <c:v>0.37076366922729326</c:v>
                </c:pt>
                <c:pt idx="47">
                  <c:v>0.34903786893104155</c:v>
                </c:pt>
                <c:pt idx="48">
                  <c:v>0.36413068104581087</c:v>
                </c:pt>
                <c:pt idx="49">
                  <c:v>0.40689255719664058</c:v>
                </c:pt>
                <c:pt idx="50">
                  <c:v>0.38836090103934973</c:v>
                </c:pt>
                <c:pt idx="51">
                  <c:v>0.4046711344757013</c:v>
                </c:pt>
                <c:pt idx="52">
                  <c:v>0.38501031199262803</c:v>
                </c:pt>
                <c:pt idx="53">
                  <c:v>0.41519097222222223</c:v>
                </c:pt>
                <c:pt idx="54">
                  <c:v>0.36295049934867563</c:v>
                </c:pt>
                <c:pt idx="55">
                  <c:v>0.38204828944489022</c:v>
                </c:pt>
                <c:pt idx="56">
                  <c:v>0.39474503178766729</c:v>
                </c:pt>
                <c:pt idx="57">
                  <c:v>0.37403987227064817</c:v>
                </c:pt>
                <c:pt idx="58">
                  <c:v>0.34489445811889313</c:v>
                </c:pt>
                <c:pt idx="59">
                  <c:v>0.38167229316502765</c:v>
                </c:pt>
                <c:pt idx="60">
                  <c:v>0.38643229881900576</c:v>
                </c:pt>
                <c:pt idx="61">
                  <c:v>0.37399613107450613</c:v>
                </c:pt>
                <c:pt idx="62">
                  <c:v>0.34598587812742337</c:v>
                </c:pt>
                <c:pt idx="63">
                  <c:v>0.41492301618634031</c:v>
                </c:pt>
                <c:pt idx="64">
                  <c:v>0.38164271217330076</c:v>
                </c:pt>
                <c:pt idx="65">
                  <c:v>0.34462970493877365</c:v>
                </c:pt>
                <c:pt idx="66">
                  <c:v>0.35783419834478891</c:v>
                </c:pt>
                <c:pt idx="67">
                  <c:v>0.3255504654943106</c:v>
                </c:pt>
                <c:pt idx="68">
                  <c:v>0.25542923275920759</c:v>
                </c:pt>
                <c:pt idx="69">
                  <c:v>0.30508043168397475</c:v>
                </c:pt>
                <c:pt idx="70">
                  <c:v>0.32968466424682397</c:v>
                </c:pt>
                <c:pt idx="71">
                  <c:v>0.32174023823173453</c:v>
                </c:pt>
                <c:pt idx="72">
                  <c:v>0.28584695393759285</c:v>
                </c:pt>
                <c:pt idx="73">
                  <c:v>0.32085948816996618</c:v>
                </c:pt>
                <c:pt idx="74">
                  <c:v>0.27688243064729195</c:v>
                </c:pt>
                <c:pt idx="75">
                  <c:v>0.2535416498016676</c:v>
                </c:pt>
                <c:pt idx="76">
                  <c:v>0.30536434844528837</c:v>
                </c:pt>
                <c:pt idx="77">
                  <c:v>0.27193053639535825</c:v>
                </c:pt>
                <c:pt idx="78">
                  <c:v>0.29915587250764081</c:v>
                </c:pt>
                <c:pt idx="79">
                  <c:v>0.27105503192459712</c:v>
                </c:pt>
                <c:pt idx="80">
                  <c:v>0.27525433443186703</c:v>
                </c:pt>
                <c:pt idx="81">
                  <c:v>0.26327433628318586</c:v>
                </c:pt>
                <c:pt idx="82">
                  <c:v>0.22687126416272638</c:v>
                </c:pt>
                <c:pt idx="83">
                  <c:v>0.29107906829345587</c:v>
                </c:pt>
                <c:pt idx="84">
                  <c:v>0.26792418276714586</c:v>
                </c:pt>
                <c:pt idx="85">
                  <c:v>0.26095875620816239</c:v>
                </c:pt>
                <c:pt idx="86">
                  <c:v>0.24146292180238432</c:v>
                </c:pt>
                <c:pt idx="87">
                  <c:v>0.26311772562488073</c:v>
                </c:pt>
                <c:pt idx="88">
                  <c:v>0.21320017368649588</c:v>
                </c:pt>
                <c:pt idx="89">
                  <c:v>0.1975890410958904</c:v>
                </c:pt>
                <c:pt idx="90">
                  <c:v>0.28657295201163352</c:v>
                </c:pt>
                <c:pt idx="91">
                  <c:v>0.24796023633123887</c:v>
                </c:pt>
                <c:pt idx="92">
                  <c:v>0.27590875950421834</c:v>
                </c:pt>
                <c:pt idx="93">
                  <c:v>0.26632246961385392</c:v>
                </c:pt>
                <c:pt idx="94">
                  <c:v>0.30907754502021317</c:v>
                </c:pt>
                <c:pt idx="95">
                  <c:v>0.20045819014891181</c:v>
                </c:pt>
                <c:pt idx="96">
                  <c:v>0.21702981651376146</c:v>
                </c:pt>
                <c:pt idx="97">
                  <c:v>0.28035137150907435</c:v>
                </c:pt>
                <c:pt idx="98">
                  <c:v>0.31466928618205631</c:v>
                </c:pt>
                <c:pt idx="99">
                  <c:v>0.28174061433447101</c:v>
                </c:pt>
                <c:pt idx="100">
                  <c:v>0.26900494437577255</c:v>
                </c:pt>
                <c:pt idx="101">
                  <c:v>0.3083192372751038</c:v>
                </c:pt>
                <c:pt idx="102">
                  <c:v>0.30308422301304866</c:v>
                </c:pt>
                <c:pt idx="103">
                  <c:v>0.23590814196242171</c:v>
                </c:pt>
                <c:pt idx="104">
                  <c:v>0.30738714090287278</c:v>
                </c:pt>
                <c:pt idx="105">
                  <c:v>0.31299035369774919</c:v>
                </c:pt>
                <c:pt idx="106">
                  <c:v>0.29649897804443859</c:v>
                </c:pt>
                <c:pt idx="107">
                  <c:v>0.31902745701821916</c:v>
                </c:pt>
                <c:pt idx="108">
                  <c:v>0.28604651162790695</c:v>
                </c:pt>
                <c:pt idx="109">
                  <c:v>0.3595505617977528</c:v>
                </c:pt>
                <c:pt idx="110">
                  <c:v>0.27692864904020281</c:v>
                </c:pt>
                <c:pt idx="111">
                  <c:v>0.32768202997810586</c:v>
                </c:pt>
                <c:pt idx="112">
                  <c:v>0.38709839609834584</c:v>
                </c:pt>
                <c:pt idx="113">
                  <c:v>0.41828087167070216</c:v>
                </c:pt>
                <c:pt idx="114">
                  <c:v>0.35233955510099718</c:v>
                </c:pt>
                <c:pt idx="115">
                  <c:v>0.35822376581493426</c:v>
                </c:pt>
                <c:pt idx="116">
                  <c:v>0.34778911564625853</c:v>
                </c:pt>
                <c:pt idx="117">
                  <c:v>0.40045163718479487</c:v>
                </c:pt>
                <c:pt idx="118">
                  <c:v>0.50283018867924534</c:v>
                </c:pt>
                <c:pt idx="119">
                  <c:v>0.49303397277890904</c:v>
                </c:pt>
                <c:pt idx="120">
                  <c:v>0.5022035980059244</c:v>
                </c:pt>
                <c:pt idx="121">
                  <c:v>0.4838255977496484</c:v>
                </c:pt>
                <c:pt idx="122">
                  <c:v>0.36081319033135906</c:v>
                </c:pt>
                <c:pt idx="123">
                  <c:v>0.41206349206349208</c:v>
                </c:pt>
                <c:pt idx="124">
                  <c:v>0.35492577597840758</c:v>
                </c:pt>
                <c:pt idx="125">
                  <c:v>0.41025525593121143</c:v>
                </c:pt>
                <c:pt idx="126">
                  <c:v>0.47713650425367365</c:v>
                </c:pt>
                <c:pt idx="127">
                  <c:v>0.40242910864925296</c:v>
                </c:pt>
                <c:pt idx="128">
                  <c:v>0.35695048684483116</c:v>
                </c:pt>
                <c:pt idx="129">
                  <c:v>0.4423783783783784</c:v>
                </c:pt>
                <c:pt idx="130">
                  <c:v>0.35157375025714871</c:v>
                </c:pt>
                <c:pt idx="131">
                  <c:v>0.27471903018057836</c:v>
                </c:pt>
                <c:pt idx="132">
                  <c:v>0.30413625304136255</c:v>
                </c:pt>
                <c:pt idx="133">
                  <c:v>0.34174486431651024</c:v>
                </c:pt>
                <c:pt idx="134">
                  <c:v>0.27736164642571448</c:v>
                </c:pt>
                <c:pt idx="135">
                  <c:v>0.30803602597221252</c:v>
                </c:pt>
                <c:pt idx="136">
                  <c:v>0.31220008724734621</c:v>
                </c:pt>
                <c:pt idx="137">
                  <c:v>0.29955156950672646</c:v>
                </c:pt>
                <c:pt idx="138">
                  <c:v>0.26527855042517684</c:v>
                </c:pt>
                <c:pt idx="139">
                  <c:v>0.33036483769031888</c:v>
                </c:pt>
                <c:pt idx="140">
                  <c:v>0.30660630706667691</c:v>
                </c:pt>
                <c:pt idx="141">
                  <c:v>0.32305630026809651</c:v>
                </c:pt>
                <c:pt idx="142">
                  <c:v>0.28455876994826207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1240489579886</c:v>
                </c:pt>
                <c:pt idx="146">
                  <c:v>0.31054716150799472</c:v>
                </c:pt>
                <c:pt idx="147">
                  <c:v>0.2974235457265893</c:v>
                </c:pt>
                <c:pt idx="148">
                  <c:v>0.30773018217626785</c:v>
                </c:pt>
                <c:pt idx="149">
                  <c:v>0.26911179849756961</c:v>
                </c:pt>
                <c:pt idx="150">
                  <c:v>0.28167045255984624</c:v>
                </c:pt>
                <c:pt idx="151">
                  <c:v>0.31619447359216507</c:v>
                </c:pt>
                <c:pt idx="152">
                  <c:v>0.25039593231641244</c:v>
                </c:pt>
                <c:pt idx="153">
                  <c:v>0.30341941999711441</c:v>
                </c:pt>
                <c:pt idx="154">
                  <c:v>0.31333238877869085</c:v>
                </c:pt>
                <c:pt idx="155">
                  <c:v>0.28731744811683319</c:v>
                </c:pt>
                <c:pt idx="156">
                  <c:v>0.28188813258360462</c:v>
                </c:pt>
                <c:pt idx="157">
                  <c:v>0.30884099779399288</c:v>
                </c:pt>
                <c:pt idx="158">
                  <c:v>0.26312130691692737</c:v>
                </c:pt>
                <c:pt idx="159">
                  <c:v>0.27168636072181002</c:v>
                </c:pt>
                <c:pt idx="160">
                  <c:v>0.3358673617144512</c:v>
                </c:pt>
                <c:pt idx="161">
                  <c:v>0.32338490870426045</c:v>
                </c:pt>
                <c:pt idx="162">
                  <c:v>0.31408653481851934</c:v>
                </c:pt>
                <c:pt idx="163">
                  <c:v>0.28865161243777504</c:v>
                </c:pt>
                <c:pt idx="164">
                  <c:v>0.29399555226093405</c:v>
                </c:pt>
                <c:pt idx="165">
                  <c:v>0.27800407331975557</c:v>
                </c:pt>
                <c:pt idx="166">
                  <c:v>0.27173296605363362</c:v>
                </c:pt>
                <c:pt idx="167">
                  <c:v>0.36495002864599912</c:v>
                </c:pt>
                <c:pt idx="168">
                  <c:v>0.3349879259458009</c:v>
                </c:pt>
                <c:pt idx="169">
                  <c:v>0.33733721077253759</c:v>
                </c:pt>
                <c:pt idx="170">
                  <c:v>0.30391408954873539</c:v>
                </c:pt>
                <c:pt idx="171">
                  <c:v>0.34982864976010969</c:v>
                </c:pt>
                <c:pt idx="172">
                  <c:v>0.3717688062735986</c:v>
                </c:pt>
                <c:pt idx="173">
                  <c:v>0.30611148421759571</c:v>
                </c:pt>
                <c:pt idx="174">
                  <c:v>0.3824929668902835</c:v>
                </c:pt>
                <c:pt idx="175">
                  <c:v>0.36479863626678033</c:v>
                </c:pt>
                <c:pt idx="176">
                  <c:v>0.36106750392464676</c:v>
                </c:pt>
                <c:pt idx="177">
                  <c:v>0.34036669056642427</c:v>
                </c:pt>
                <c:pt idx="178">
                  <c:v>0.32984073763621125</c:v>
                </c:pt>
                <c:pt idx="179">
                  <c:v>0.32697171763623822</c:v>
                </c:pt>
                <c:pt idx="180">
                  <c:v>0.31534601325816242</c:v>
                </c:pt>
                <c:pt idx="181">
                  <c:v>0.3688544559762218</c:v>
                </c:pt>
                <c:pt idx="182">
                  <c:v>0.36451197527684781</c:v>
                </c:pt>
                <c:pt idx="183">
                  <c:v>0.36685522732034359</c:v>
                </c:pt>
                <c:pt idx="184">
                  <c:v>0.29984411927389754</c:v>
                </c:pt>
                <c:pt idx="185">
                  <c:v>0.4169522503998172</c:v>
                </c:pt>
                <c:pt idx="186">
                  <c:v>0.31155895297660413</c:v>
                </c:pt>
                <c:pt idx="187">
                  <c:v>0.29719063545150504</c:v>
                </c:pt>
                <c:pt idx="188">
                  <c:v>0.36238429798148769</c:v>
                </c:pt>
                <c:pt idx="189">
                  <c:v>0.35482275350370979</c:v>
                </c:pt>
                <c:pt idx="190">
                  <c:v>0.31286513362336854</c:v>
                </c:pt>
                <c:pt idx="191">
                  <c:v>0.37703359982109913</c:v>
                </c:pt>
                <c:pt idx="192">
                  <c:v>0.33363648174613486</c:v>
                </c:pt>
                <c:pt idx="193">
                  <c:v>0.29392298435619735</c:v>
                </c:pt>
                <c:pt idx="194">
                  <c:v>0.28000000000000003</c:v>
                </c:pt>
                <c:pt idx="195">
                  <c:v>0.35505059470974615</c:v>
                </c:pt>
                <c:pt idx="196">
                  <c:v>0.34233073503833022</c:v>
                </c:pt>
                <c:pt idx="197">
                  <c:v>0.32537185354691073</c:v>
                </c:pt>
                <c:pt idx="198">
                  <c:v>0.28248066415951184</c:v>
                </c:pt>
                <c:pt idx="199">
                  <c:v>0.2775582504428396</c:v>
                </c:pt>
                <c:pt idx="200">
                  <c:v>0.24600638977635783</c:v>
                </c:pt>
                <c:pt idx="201">
                  <c:v>0.22995964232017094</c:v>
                </c:pt>
                <c:pt idx="202">
                  <c:v>0.30563546025104604</c:v>
                </c:pt>
                <c:pt idx="203">
                  <c:v>0.30276141666029222</c:v>
                </c:pt>
                <c:pt idx="204">
                  <c:v>0.24773460297957303</c:v>
                </c:pt>
                <c:pt idx="205">
                  <c:v>0.2584597906353972</c:v>
                </c:pt>
                <c:pt idx="206">
                  <c:v>0.27547021943573669</c:v>
                </c:pt>
                <c:pt idx="207">
                  <c:v>0.11980376968758069</c:v>
                </c:pt>
                <c:pt idx="208">
                  <c:v>0.20935864385594877</c:v>
                </c:pt>
                <c:pt idx="209">
                  <c:v>0.26203169502665596</c:v>
                </c:pt>
                <c:pt idx="210">
                  <c:v>0.25115900772671818</c:v>
                </c:pt>
                <c:pt idx="211">
                  <c:v>0.23934276586033776</c:v>
                </c:pt>
                <c:pt idx="212">
                  <c:v>0.25680793507664562</c:v>
                </c:pt>
                <c:pt idx="213">
                  <c:v>0.22332199195793381</c:v>
                </c:pt>
                <c:pt idx="214">
                  <c:v>0.18802062673542244</c:v>
                </c:pt>
                <c:pt idx="215">
                  <c:v>9.8218829516539444E-2</c:v>
                </c:pt>
                <c:pt idx="216">
                  <c:v>0.18042422693585483</c:v>
                </c:pt>
                <c:pt idx="217">
                  <c:v>0.25027262813522355</c:v>
                </c:pt>
                <c:pt idx="218">
                  <c:v>0.24025331486245793</c:v>
                </c:pt>
                <c:pt idx="219">
                  <c:v>0.20356355972794329</c:v>
                </c:pt>
                <c:pt idx="220">
                  <c:v>0.17405719021964361</c:v>
                </c:pt>
                <c:pt idx="221">
                  <c:v>0.12866015971606035</c:v>
                </c:pt>
                <c:pt idx="222">
                  <c:v>0.12262066621346022</c:v>
                </c:pt>
                <c:pt idx="223">
                  <c:v>0.18636561007381677</c:v>
                </c:pt>
                <c:pt idx="224">
                  <c:v>0.14999516768145357</c:v>
                </c:pt>
                <c:pt idx="225">
                  <c:v>0.16326768441906539</c:v>
                </c:pt>
                <c:pt idx="226">
                  <c:v>0.14822021288771889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26888326707626</c:v>
                </c:pt>
                <c:pt idx="230">
                  <c:v>0.15310913097633419</c:v>
                </c:pt>
                <c:pt idx="231">
                  <c:v>0.13616219809439398</c:v>
                </c:pt>
                <c:pt idx="232">
                  <c:v>0.1373997995991984</c:v>
                </c:pt>
                <c:pt idx="233">
                  <c:v>0.1240768094534712</c:v>
                </c:pt>
                <c:pt idx="234">
                  <c:v>0.11515689757252812</c:v>
                </c:pt>
                <c:pt idx="235">
                  <c:v>0.12792792792792793</c:v>
                </c:pt>
                <c:pt idx="236">
                  <c:v>9.8493516399694891E-2</c:v>
                </c:pt>
                <c:pt idx="237">
                  <c:v>0.14673554627390636</c:v>
                </c:pt>
                <c:pt idx="238">
                  <c:v>0.11021837659662134</c:v>
                </c:pt>
                <c:pt idx="239">
                  <c:v>0.10932398113435723</c:v>
                </c:pt>
                <c:pt idx="240">
                  <c:v>9.3049078392182988E-2</c:v>
                </c:pt>
                <c:pt idx="241">
                  <c:v>0.11652035115722266</c:v>
                </c:pt>
                <c:pt idx="242">
                  <c:v>8.3608360836083612E-2</c:v>
                </c:pt>
                <c:pt idx="243">
                  <c:v>7.0965316289124919E-2</c:v>
                </c:pt>
                <c:pt idx="244">
                  <c:v>0.10921501706484642</c:v>
                </c:pt>
                <c:pt idx="245">
                  <c:v>8.3890715338397009E-2</c:v>
                </c:pt>
                <c:pt idx="246">
                  <c:v>8.0423145551873562E-2</c:v>
                </c:pt>
                <c:pt idx="247">
                  <c:v>7.5798860540004953E-2</c:v>
                </c:pt>
                <c:pt idx="248">
                  <c:v>6.3345017526289432E-2</c:v>
                </c:pt>
                <c:pt idx="249">
                  <c:v>6.1702127659574467E-2</c:v>
                </c:pt>
                <c:pt idx="250">
                  <c:v>5.0030086821971978E-2</c:v>
                </c:pt>
                <c:pt idx="251">
                  <c:v>8.8467614533965247E-2</c:v>
                </c:pt>
                <c:pt idx="252">
                  <c:v>5.9069590569146915E-2</c:v>
                </c:pt>
                <c:pt idx="253">
                  <c:v>6.5727699530516437E-2</c:v>
                </c:pt>
                <c:pt idx="254">
                  <c:v>5.276445342085332E-2</c:v>
                </c:pt>
                <c:pt idx="255">
                  <c:v>5.1274623406720739E-2</c:v>
                </c:pt>
                <c:pt idx="256">
                  <c:v>3.3369803063457333E-2</c:v>
                </c:pt>
                <c:pt idx="257">
                  <c:v>2.8509090909090908E-2</c:v>
                </c:pt>
                <c:pt idx="258">
                  <c:v>4.9610993230271801E-2</c:v>
                </c:pt>
                <c:pt idx="259">
                  <c:v>2.9979510406556671E-2</c:v>
                </c:pt>
                <c:pt idx="260">
                  <c:v>3.6724778508145185E-2</c:v>
                </c:pt>
                <c:pt idx="261">
                  <c:v>2.5269218466787504E-2</c:v>
                </c:pt>
                <c:pt idx="262">
                  <c:v>2.7760829774252593E-2</c:v>
                </c:pt>
                <c:pt idx="263">
                  <c:v>2.9394121175764846E-2</c:v>
                </c:pt>
                <c:pt idx="264">
                  <c:v>1.752489770709488E-2</c:v>
                </c:pt>
                <c:pt idx="265">
                  <c:v>2.0775862068965516E-2</c:v>
                </c:pt>
                <c:pt idx="266">
                  <c:v>3.0311052283256121E-2</c:v>
                </c:pt>
                <c:pt idx="267">
                  <c:v>2.2579457602159774E-2</c:v>
                </c:pt>
                <c:pt idx="268">
                  <c:v>1.838860544217687E-2</c:v>
                </c:pt>
                <c:pt idx="269">
                  <c:v>2.3809523809523808E-2</c:v>
                </c:pt>
                <c:pt idx="270">
                  <c:v>1.1302475780409042E-2</c:v>
                </c:pt>
                <c:pt idx="271">
                  <c:v>1.5619421635130311E-2</c:v>
                </c:pt>
                <c:pt idx="272">
                  <c:v>1.9960312828294618E-2</c:v>
                </c:pt>
                <c:pt idx="273">
                  <c:v>1.3910355486862442E-2</c:v>
                </c:pt>
                <c:pt idx="274">
                  <c:v>1.8312298935906954E-2</c:v>
                </c:pt>
                <c:pt idx="275">
                  <c:v>1.1198868324885064E-2</c:v>
                </c:pt>
                <c:pt idx="276">
                  <c:v>1.3959822948586994E-2</c:v>
                </c:pt>
                <c:pt idx="277">
                  <c:v>8.4643288996372433E-3</c:v>
                </c:pt>
                <c:pt idx="278">
                  <c:v>1.0353753235547885E-2</c:v>
                </c:pt>
                <c:pt idx="279">
                  <c:v>1.487314085739282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475024485798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565819861431869E-2</c:v>
                </c:pt>
                <c:pt idx="1">
                  <c:v>3.6761284318287575E-2</c:v>
                </c:pt>
                <c:pt idx="2">
                  <c:v>3.4547502816372512E-2</c:v>
                </c:pt>
                <c:pt idx="3">
                  <c:v>4.5945945945945948E-2</c:v>
                </c:pt>
                <c:pt idx="4">
                  <c:v>5.749718151071026E-2</c:v>
                </c:pt>
                <c:pt idx="5">
                  <c:v>3.1910306166451054E-2</c:v>
                </c:pt>
                <c:pt idx="6">
                  <c:v>4.4626593806921674E-2</c:v>
                </c:pt>
                <c:pt idx="7">
                  <c:v>5.5054151624548735E-2</c:v>
                </c:pt>
                <c:pt idx="8">
                  <c:v>6.3751317175974709E-2</c:v>
                </c:pt>
                <c:pt idx="9">
                  <c:v>5.5033249254758082E-2</c:v>
                </c:pt>
                <c:pt idx="10">
                  <c:v>8.7054288467716026E-2</c:v>
                </c:pt>
                <c:pt idx="11">
                  <c:v>8.0438756855575874E-2</c:v>
                </c:pt>
                <c:pt idx="12">
                  <c:v>4.1677065136011979E-2</c:v>
                </c:pt>
                <c:pt idx="13">
                  <c:v>6.3394683026584867E-2</c:v>
                </c:pt>
                <c:pt idx="14">
                  <c:v>8.5080398941583549E-2</c:v>
                </c:pt>
                <c:pt idx="15">
                  <c:v>0.10736250219645053</c:v>
                </c:pt>
                <c:pt idx="16">
                  <c:v>7.6347031963470313E-2</c:v>
                </c:pt>
                <c:pt idx="17">
                  <c:v>9.1075634650615023E-2</c:v>
                </c:pt>
                <c:pt idx="18">
                  <c:v>7.0395738203957378E-2</c:v>
                </c:pt>
                <c:pt idx="19">
                  <c:v>6.8098818474758321E-2</c:v>
                </c:pt>
                <c:pt idx="20">
                  <c:v>8.3135391923990498E-2</c:v>
                </c:pt>
                <c:pt idx="21">
                  <c:v>8.4519115378021606E-2</c:v>
                </c:pt>
                <c:pt idx="22">
                  <c:v>0.10747116831021226</c:v>
                </c:pt>
                <c:pt idx="23">
                  <c:v>0.10942528735632184</c:v>
                </c:pt>
                <c:pt idx="24">
                  <c:v>0.11607361963190184</c:v>
                </c:pt>
                <c:pt idx="25">
                  <c:v>0.10949963741841914</c:v>
                </c:pt>
                <c:pt idx="26">
                  <c:v>8.404029692470838E-2</c:v>
                </c:pt>
                <c:pt idx="27">
                  <c:v>0.10075250836120402</c:v>
                </c:pt>
                <c:pt idx="28">
                  <c:v>0.12165263963274675</c:v>
                </c:pt>
                <c:pt idx="29">
                  <c:v>0.13127476882430647</c:v>
                </c:pt>
                <c:pt idx="30">
                  <c:v>0.15252525252525254</c:v>
                </c:pt>
                <c:pt idx="31">
                  <c:v>0.15278154681139755</c:v>
                </c:pt>
                <c:pt idx="32">
                  <c:v>0.20080784766301213</c:v>
                </c:pt>
                <c:pt idx="33">
                  <c:v>0.17310443490701002</c:v>
                </c:pt>
                <c:pt idx="34">
                  <c:v>0.16202307009760425</c:v>
                </c:pt>
                <c:pt idx="35">
                  <c:v>0.19250780437044746</c:v>
                </c:pt>
                <c:pt idx="36">
                  <c:v>0.18889809444904723</c:v>
                </c:pt>
                <c:pt idx="37">
                  <c:v>0.26306049822064059</c:v>
                </c:pt>
                <c:pt idx="38">
                  <c:v>0.22712106768350809</c:v>
                </c:pt>
                <c:pt idx="39">
                  <c:v>0.22137668626772744</c:v>
                </c:pt>
                <c:pt idx="40">
                  <c:v>0.17892010360629607</c:v>
                </c:pt>
                <c:pt idx="41">
                  <c:v>0.21123628817076787</c:v>
                </c:pt>
                <c:pt idx="42">
                  <c:v>0.22196078431372548</c:v>
                </c:pt>
                <c:pt idx="43">
                  <c:v>0.20917644026292048</c:v>
                </c:pt>
                <c:pt idx="44">
                  <c:v>0.23325718408079837</c:v>
                </c:pt>
                <c:pt idx="45">
                  <c:v>0.2298507462686567</c:v>
                </c:pt>
                <c:pt idx="46">
                  <c:v>0.23640819964349377</c:v>
                </c:pt>
                <c:pt idx="47">
                  <c:v>0.22331761680240034</c:v>
                </c:pt>
                <c:pt idx="48">
                  <c:v>0.23061525495153815</c:v>
                </c:pt>
                <c:pt idx="49">
                  <c:v>0.26356945722171116</c:v>
                </c:pt>
                <c:pt idx="50">
                  <c:v>0.25147928994082841</c:v>
                </c:pt>
                <c:pt idx="51">
                  <c:v>0.2689600563082879</c:v>
                </c:pt>
                <c:pt idx="52">
                  <c:v>0.25190839694656486</c:v>
                </c:pt>
                <c:pt idx="53">
                  <c:v>0.27600069917846531</c:v>
                </c:pt>
                <c:pt idx="54">
                  <c:v>0.2510914454277286</c:v>
                </c:pt>
                <c:pt idx="55">
                  <c:v>0.26653609899403541</c:v>
                </c:pt>
                <c:pt idx="56">
                  <c:v>0.24531338761598181</c:v>
                </c:pt>
                <c:pt idx="57">
                  <c:v>0.23322400496409892</c:v>
                </c:pt>
                <c:pt idx="58">
                  <c:v>0.23374957235716728</c:v>
                </c:pt>
                <c:pt idx="59">
                  <c:v>0.24862566123846075</c:v>
                </c:pt>
                <c:pt idx="60">
                  <c:v>0.27482717922778621</c:v>
                </c:pt>
                <c:pt idx="61">
                  <c:v>0.22064012096774194</c:v>
                </c:pt>
                <c:pt idx="62">
                  <c:v>0.2214513407087943</c:v>
                </c:pt>
                <c:pt idx="63">
                  <c:v>0.26806426668957817</c:v>
                </c:pt>
                <c:pt idx="64">
                  <c:v>0.23880866425992781</c:v>
                </c:pt>
                <c:pt idx="65">
                  <c:v>0.24657271594286262</c:v>
                </c:pt>
                <c:pt idx="66">
                  <c:v>0.26055194805194803</c:v>
                </c:pt>
                <c:pt idx="67">
                  <c:v>0.23101628813948152</c:v>
                </c:pt>
                <c:pt idx="68">
                  <c:v>0.18474770642201835</c:v>
                </c:pt>
                <c:pt idx="69">
                  <c:v>0.20007482929566925</c:v>
                </c:pt>
                <c:pt idx="70">
                  <c:v>0.2044753086419753</c:v>
                </c:pt>
                <c:pt idx="71">
                  <c:v>0.20755953681450731</c:v>
                </c:pt>
                <c:pt idx="72">
                  <c:v>0.20553887220553888</c:v>
                </c:pt>
                <c:pt idx="73">
                  <c:v>0.23594785210515068</c:v>
                </c:pt>
                <c:pt idx="74">
                  <c:v>0.21541353383458647</c:v>
                </c:pt>
                <c:pt idx="75">
                  <c:v>0.15741838163990948</c:v>
                </c:pt>
                <c:pt idx="76">
                  <c:v>0.22095671981776766</c:v>
                </c:pt>
                <c:pt idx="77">
                  <c:v>0.17819760020423794</c:v>
                </c:pt>
                <c:pt idx="78">
                  <c:v>0.20864836185170446</c:v>
                </c:pt>
                <c:pt idx="79">
                  <c:v>0.21115809575774111</c:v>
                </c:pt>
                <c:pt idx="80">
                  <c:v>0.20111607142857144</c:v>
                </c:pt>
                <c:pt idx="81">
                  <c:v>0.21172387196297723</c:v>
                </c:pt>
                <c:pt idx="82">
                  <c:v>0.13023012552301255</c:v>
                </c:pt>
                <c:pt idx="83">
                  <c:v>0.19532306028656393</c:v>
                </c:pt>
                <c:pt idx="84">
                  <c:v>0.18092428711897737</c:v>
                </c:pt>
                <c:pt idx="85">
                  <c:v>0.16379310344827586</c:v>
                </c:pt>
                <c:pt idx="86">
                  <c:v>0.17477124183006537</c:v>
                </c:pt>
                <c:pt idx="87">
                  <c:v>0.22026328161730135</c:v>
                </c:pt>
                <c:pt idx="88">
                  <c:v>0.1956001912960306</c:v>
                </c:pt>
                <c:pt idx="89">
                  <c:v>0.11077389984825493</c:v>
                </c:pt>
                <c:pt idx="90">
                  <c:v>0.18877673636145156</c:v>
                </c:pt>
                <c:pt idx="91">
                  <c:v>0.17602808425275829</c:v>
                </c:pt>
                <c:pt idx="92">
                  <c:v>0.19567004658810633</c:v>
                </c:pt>
                <c:pt idx="93">
                  <c:v>0.19774212715389186</c:v>
                </c:pt>
                <c:pt idx="94">
                  <c:v>0.26808059384941674</c:v>
                </c:pt>
                <c:pt idx="95">
                  <c:v>0.16194837635303913</c:v>
                </c:pt>
                <c:pt idx="96">
                  <c:v>0.12805213879199559</c:v>
                </c:pt>
                <c:pt idx="97">
                  <c:v>0.1870518336406474</c:v>
                </c:pt>
                <c:pt idx="98">
                  <c:v>0.19628350934199837</c:v>
                </c:pt>
                <c:pt idx="99">
                  <c:v>0.20243902439024392</c:v>
                </c:pt>
                <c:pt idx="100">
                  <c:v>0.18571683309557774</c:v>
                </c:pt>
                <c:pt idx="101">
                  <c:v>0.208680333119795</c:v>
                </c:pt>
                <c:pt idx="102">
                  <c:v>0.21614100185528756</c:v>
                </c:pt>
                <c:pt idx="103">
                  <c:v>0.13659571125598932</c:v>
                </c:pt>
                <c:pt idx="104">
                  <c:v>0.19521849271690944</c:v>
                </c:pt>
                <c:pt idx="105">
                  <c:v>0.18185893604303646</c:v>
                </c:pt>
                <c:pt idx="106">
                  <c:v>0.17286304416904988</c:v>
                </c:pt>
                <c:pt idx="107">
                  <c:v>0.17693184102942161</c:v>
                </c:pt>
                <c:pt idx="108">
                  <c:v>0.1752701080432173</c:v>
                </c:pt>
                <c:pt idx="109">
                  <c:v>0.18495751220394141</c:v>
                </c:pt>
                <c:pt idx="110">
                  <c:v>0.14216965269322202</c:v>
                </c:pt>
                <c:pt idx="111">
                  <c:v>0.16725324368335348</c:v>
                </c:pt>
                <c:pt idx="112">
                  <c:v>0.1803570633542585</c:v>
                </c:pt>
                <c:pt idx="113">
                  <c:v>0.23335274703940984</c:v>
                </c:pt>
                <c:pt idx="114">
                  <c:v>0.21556161065697851</c:v>
                </c:pt>
                <c:pt idx="115">
                  <c:v>0.18534299105240734</c:v>
                </c:pt>
                <c:pt idx="116">
                  <c:v>0.19246646026831785</c:v>
                </c:pt>
                <c:pt idx="117">
                  <c:v>0.19887101326559412</c:v>
                </c:pt>
                <c:pt idx="118">
                  <c:v>0.26664911818899711</c:v>
                </c:pt>
                <c:pt idx="119">
                  <c:v>0.26717093639575973</c:v>
                </c:pt>
                <c:pt idx="120">
                  <c:v>0.2984493328525063</c:v>
                </c:pt>
                <c:pt idx="121">
                  <c:v>0.35259928963513076</c:v>
                </c:pt>
                <c:pt idx="122">
                  <c:v>0.20324852666379187</c:v>
                </c:pt>
                <c:pt idx="123">
                  <c:v>0.25677977204244729</c:v>
                </c:pt>
                <c:pt idx="124">
                  <c:v>0.19438476562500001</c:v>
                </c:pt>
                <c:pt idx="125">
                  <c:v>0.24628731068960447</c:v>
                </c:pt>
                <c:pt idx="126">
                  <c:v>0.28574686431014823</c:v>
                </c:pt>
                <c:pt idx="127">
                  <c:v>0.25882286932615162</c:v>
                </c:pt>
                <c:pt idx="128">
                  <c:v>0.22377398720682304</c:v>
                </c:pt>
                <c:pt idx="129">
                  <c:v>0.28067162755199387</c:v>
                </c:pt>
                <c:pt idx="130">
                  <c:v>0.23409160774669535</c:v>
                </c:pt>
                <c:pt idx="131">
                  <c:v>0.15410024414763751</c:v>
                </c:pt>
                <c:pt idx="132">
                  <c:v>0.20401406993585763</c:v>
                </c:pt>
                <c:pt idx="133">
                  <c:v>0.22567631703844329</c:v>
                </c:pt>
                <c:pt idx="134">
                  <c:v>0.17710286214223223</c:v>
                </c:pt>
                <c:pt idx="135">
                  <c:v>0.20706505740359141</c:v>
                </c:pt>
                <c:pt idx="136">
                  <c:v>0.23947573031211819</c:v>
                </c:pt>
                <c:pt idx="137">
                  <c:v>0.22280664843256889</c:v>
                </c:pt>
                <c:pt idx="138">
                  <c:v>0.15920182192820737</c:v>
                </c:pt>
                <c:pt idx="139">
                  <c:v>0.22019367174489607</c:v>
                </c:pt>
                <c:pt idx="140">
                  <c:v>0.20251738986419343</c:v>
                </c:pt>
                <c:pt idx="141">
                  <c:v>0.19519497043634459</c:v>
                </c:pt>
                <c:pt idx="142">
                  <c:v>0.1912584869059166</c:v>
                </c:pt>
                <c:pt idx="143">
                  <c:v>0.22280915616957875</c:v>
                </c:pt>
                <c:pt idx="144">
                  <c:v>0.20512820512820512</c:v>
                </c:pt>
                <c:pt idx="145">
                  <c:v>0.1475098990574982</c:v>
                </c:pt>
                <c:pt idx="146">
                  <c:v>0.22085544801748361</c:v>
                </c:pt>
                <c:pt idx="147">
                  <c:v>0.1834315966791</c:v>
                </c:pt>
                <c:pt idx="148">
                  <c:v>0.21855146124523506</c:v>
                </c:pt>
                <c:pt idx="149">
                  <c:v>0.18989934456928839</c:v>
                </c:pt>
                <c:pt idx="150">
                  <c:v>0.20342955835183815</c:v>
                </c:pt>
                <c:pt idx="151">
                  <c:v>0.20186650436193954</c:v>
                </c:pt>
                <c:pt idx="152">
                  <c:v>0.14860112330061415</c:v>
                </c:pt>
                <c:pt idx="153">
                  <c:v>0.1986703402012458</c:v>
                </c:pt>
                <c:pt idx="154">
                  <c:v>0.2157137846369695</c:v>
                </c:pt>
                <c:pt idx="155">
                  <c:v>0.19212203128016991</c:v>
                </c:pt>
                <c:pt idx="156">
                  <c:v>0.1877603873437676</c:v>
                </c:pt>
                <c:pt idx="157">
                  <c:v>0.23569216653285927</c:v>
                </c:pt>
                <c:pt idx="158">
                  <c:v>0.17685548700691717</c:v>
                </c:pt>
                <c:pt idx="159">
                  <c:v>0.16411889596602972</c:v>
                </c:pt>
                <c:pt idx="160">
                  <c:v>0.21518301927658653</c:v>
                </c:pt>
                <c:pt idx="161">
                  <c:v>0.20443979544397956</c:v>
                </c:pt>
                <c:pt idx="162">
                  <c:v>0.20431384807752423</c:v>
                </c:pt>
                <c:pt idx="163">
                  <c:v>0.1887199336466685</c:v>
                </c:pt>
                <c:pt idx="164">
                  <c:v>0.21640337589266392</c:v>
                </c:pt>
                <c:pt idx="165">
                  <c:v>0.1985052861830113</c:v>
                </c:pt>
                <c:pt idx="166">
                  <c:v>0.17267624393492531</c:v>
                </c:pt>
                <c:pt idx="167">
                  <c:v>0.23271626383443347</c:v>
                </c:pt>
                <c:pt idx="168">
                  <c:v>0.20131741457389873</c:v>
                </c:pt>
                <c:pt idx="169">
                  <c:v>0.21533292608430055</c:v>
                </c:pt>
                <c:pt idx="170">
                  <c:v>0.1907975182283411</c:v>
                </c:pt>
                <c:pt idx="171">
                  <c:v>0.24613856020233041</c:v>
                </c:pt>
                <c:pt idx="172">
                  <c:v>0.22512934220251293</c:v>
                </c:pt>
                <c:pt idx="173">
                  <c:v>0.17898342454427341</c:v>
                </c:pt>
                <c:pt idx="174">
                  <c:v>0.23985495436766624</c:v>
                </c:pt>
                <c:pt idx="175">
                  <c:v>0.20203763043299647</c:v>
                </c:pt>
                <c:pt idx="176">
                  <c:v>0.22191618288910547</c:v>
                </c:pt>
                <c:pt idx="177">
                  <c:v>0.20399339674553887</c:v>
                </c:pt>
                <c:pt idx="178">
                  <c:v>0.21813781105816504</c:v>
                </c:pt>
                <c:pt idx="179">
                  <c:v>0.21231186775228225</c:v>
                </c:pt>
                <c:pt idx="180">
                  <c:v>0.17161180936935608</c:v>
                </c:pt>
                <c:pt idx="181">
                  <c:v>0.22149218864067746</c:v>
                </c:pt>
                <c:pt idx="182">
                  <c:v>0.20940187570533525</c:v>
                </c:pt>
                <c:pt idx="183">
                  <c:v>0.19117761066749361</c:v>
                </c:pt>
                <c:pt idx="184">
                  <c:v>0.16768303555508007</c:v>
                </c:pt>
                <c:pt idx="185">
                  <c:v>0.26221020092735703</c:v>
                </c:pt>
                <c:pt idx="186">
                  <c:v>0.16865330966269337</c:v>
                </c:pt>
                <c:pt idx="187">
                  <c:v>0.12616908688161457</c:v>
                </c:pt>
                <c:pt idx="188">
                  <c:v>0.17476685796269728</c:v>
                </c:pt>
                <c:pt idx="189">
                  <c:v>0.16104913363399004</c:v>
                </c:pt>
                <c:pt idx="190">
                  <c:v>0.12281240405280934</c:v>
                </c:pt>
                <c:pt idx="191">
                  <c:v>0.16472450918302722</c:v>
                </c:pt>
                <c:pt idx="192">
                  <c:v>0.21549248183814834</c:v>
                </c:pt>
                <c:pt idx="193">
                  <c:v>0.15464824120603016</c:v>
                </c:pt>
                <c:pt idx="194">
                  <c:v>0.11802637490419937</c:v>
                </c:pt>
                <c:pt idx="195">
                  <c:v>0.15432506096686271</c:v>
                </c:pt>
                <c:pt idx="196">
                  <c:v>0.136860648766857</c:v>
                </c:pt>
                <c:pt idx="197">
                  <c:v>0.12996576448549835</c:v>
                </c:pt>
                <c:pt idx="198">
                  <c:v>0.13211249182472204</c:v>
                </c:pt>
                <c:pt idx="199">
                  <c:v>0.20480044141990067</c:v>
                </c:pt>
                <c:pt idx="200">
                  <c:v>0.12489028213166144</c:v>
                </c:pt>
                <c:pt idx="201">
                  <c:v>9.4943348720100712E-2</c:v>
                </c:pt>
                <c:pt idx="202">
                  <c:v>0.12918714987995886</c:v>
                </c:pt>
                <c:pt idx="203">
                  <c:v>0.10656972555184385</c:v>
                </c:pt>
                <c:pt idx="204">
                  <c:v>0.10058756760365895</c:v>
                </c:pt>
                <c:pt idx="205">
                  <c:v>0.11820083682008369</c:v>
                </c:pt>
                <c:pt idx="206">
                  <c:v>0.18385385975250443</c:v>
                </c:pt>
                <c:pt idx="207">
                  <c:v>0.12485116516414356</c:v>
                </c:pt>
                <c:pt idx="208">
                  <c:v>8.1204574604531857E-2</c:v>
                </c:pt>
                <c:pt idx="209">
                  <c:v>0.10677719694392032</c:v>
                </c:pt>
                <c:pt idx="210">
                  <c:v>9.1145148566920853E-2</c:v>
                </c:pt>
                <c:pt idx="211">
                  <c:v>7.3676938787769569E-2</c:v>
                </c:pt>
                <c:pt idx="212">
                  <c:v>0.14616844839644319</c:v>
                </c:pt>
                <c:pt idx="213">
                  <c:v>0.15557299843014127</c:v>
                </c:pt>
                <c:pt idx="214">
                  <c:v>0.14298033804760263</c:v>
                </c:pt>
                <c:pt idx="215">
                  <c:v>8.9179375453885254E-2</c:v>
                </c:pt>
                <c:pt idx="216">
                  <c:v>5.2082669555428111E-2</c:v>
                </c:pt>
                <c:pt idx="217">
                  <c:v>7.7190194520467326E-2</c:v>
                </c:pt>
                <c:pt idx="218">
                  <c:v>6.6374226952394644E-2</c:v>
                </c:pt>
                <c:pt idx="219">
                  <c:v>8.1225879682179342E-2</c:v>
                </c:pt>
                <c:pt idx="220">
                  <c:v>0.12238805970149254</c:v>
                </c:pt>
                <c:pt idx="221">
                  <c:v>6.5594252694049671E-2</c:v>
                </c:pt>
                <c:pt idx="222">
                  <c:v>4.8164188574108299E-2</c:v>
                </c:pt>
                <c:pt idx="223">
                  <c:v>6.4289673009421761E-2</c:v>
                </c:pt>
                <c:pt idx="224">
                  <c:v>5.2838397305452249E-2</c:v>
                </c:pt>
                <c:pt idx="225">
                  <c:v>4.6674575517164675E-2</c:v>
                </c:pt>
                <c:pt idx="226">
                  <c:v>6.8081079735046568E-2</c:v>
                </c:pt>
                <c:pt idx="227">
                  <c:v>9.8711144806671716E-2</c:v>
                </c:pt>
                <c:pt idx="228">
                  <c:v>5.5410501885697711E-2</c:v>
                </c:pt>
                <c:pt idx="229">
                  <c:v>4.1128579449747335E-2</c:v>
                </c:pt>
                <c:pt idx="230">
                  <c:v>4.7229525757133121E-2</c:v>
                </c:pt>
                <c:pt idx="231">
                  <c:v>4.2919382133727001E-2</c:v>
                </c:pt>
                <c:pt idx="232">
                  <c:v>3.7587475651107427E-2</c:v>
                </c:pt>
                <c:pt idx="233">
                  <c:v>5.5263803680981598E-2</c:v>
                </c:pt>
                <c:pt idx="234">
                  <c:v>8.5232189212575721E-2</c:v>
                </c:pt>
                <c:pt idx="235">
                  <c:v>6.3001852995676344E-2</c:v>
                </c:pt>
                <c:pt idx="236">
                  <c:v>3.1336405529953919E-2</c:v>
                </c:pt>
                <c:pt idx="237">
                  <c:v>4.0955081523490366E-2</c:v>
                </c:pt>
                <c:pt idx="238">
                  <c:v>3.5907156396409283E-2</c:v>
                </c:pt>
                <c:pt idx="239">
                  <c:v>3.1579313462942994E-2</c:v>
                </c:pt>
                <c:pt idx="240">
                  <c:v>4.5458850269911921E-2</c:v>
                </c:pt>
                <c:pt idx="241">
                  <c:v>9.6028757274905854E-2</c:v>
                </c:pt>
                <c:pt idx="242">
                  <c:v>3.2021604938271608E-2</c:v>
                </c:pt>
                <c:pt idx="243">
                  <c:v>2.3973546431523836E-2</c:v>
                </c:pt>
                <c:pt idx="244">
                  <c:v>3.1592657660386506E-2</c:v>
                </c:pt>
                <c:pt idx="245">
                  <c:v>2.8268675631908751E-2</c:v>
                </c:pt>
                <c:pt idx="246">
                  <c:v>2.3690107779319177E-2</c:v>
                </c:pt>
                <c:pt idx="247">
                  <c:v>3.6337279536119836E-2</c:v>
                </c:pt>
                <c:pt idx="248">
                  <c:v>5.4642086032220559E-2</c:v>
                </c:pt>
                <c:pt idx="249">
                  <c:v>2.4010914051841747E-2</c:v>
                </c:pt>
                <c:pt idx="250">
                  <c:v>1.7607933244648689E-2</c:v>
                </c:pt>
                <c:pt idx="251">
                  <c:v>1.9994929970213574E-2</c:v>
                </c:pt>
                <c:pt idx="252">
                  <c:v>1.8386841916253682E-2</c:v>
                </c:pt>
                <c:pt idx="253">
                  <c:v>1.7442886903711027E-2</c:v>
                </c:pt>
                <c:pt idx="254">
                  <c:v>2.1624752618622387E-2</c:v>
                </c:pt>
                <c:pt idx="255">
                  <c:v>4.0693403848978994E-2</c:v>
                </c:pt>
                <c:pt idx="256">
                  <c:v>1.5287649188681775E-2</c:v>
                </c:pt>
                <c:pt idx="257">
                  <c:v>1.0842316370017549E-2</c:v>
                </c:pt>
                <c:pt idx="258">
                  <c:v>1.3769463165233559E-2</c:v>
                </c:pt>
                <c:pt idx="259">
                  <c:v>1.1777336760256369E-2</c:v>
                </c:pt>
                <c:pt idx="260">
                  <c:v>9.7121723749799011E-3</c:v>
                </c:pt>
                <c:pt idx="261">
                  <c:v>1.1914370267881164E-2</c:v>
                </c:pt>
                <c:pt idx="262">
                  <c:v>2.2409384869905249E-2</c:v>
                </c:pt>
                <c:pt idx="263">
                  <c:v>1.2529365700861394E-2</c:v>
                </c:pt>
                <c:pt idx="264">
                  <c:v>8.3544363713819129E-3</c:v>
                </c:pt>
                <c:pt idx="265">
                  <c:v>1.0251263486146456E-2</c:v>
                </c:pt>
                <c:pt idx="266">
                  <c:v>8.5367369773320621E-3</c:v>
                </c:pt>
                <c:pt idx="267">
                  <c:v>9.0978317502304513E-3</c:v>
                </c:pt>
                <c:pt idx="268">
                  <c:v>9.0203189659180723E-3</c:v>
                </c:pt>
                <c:pt idx="269">
                  <c:v>1.5694356372859861E-2</c:v>
                </c:pt>
                <c:pt idx="270">
                  <c:v>8.939580764488286E-3</c:v>
                </c:pt>
                <c:pt idx="271">
                  <c:v>6.1158769247422404E-3</c:v>
                </c:pt>
                <c:pt idx="272">
                  <c:v>9.0272504851092554E-3</c:v>
                </c:pt>
                <c:pt idx="273">
                  <c:v>6.9438099588853362E-3</c:v>
                </c:pt>
                <c:pt idx="274">
                  <c:v>6.5296463473421273E-3</c:v>
                </c:pt>
                <c:pt idx="275">
                  <c:v>7.1686384599959898E-3</c:v>
                </c:pt>
                <c:pt idx="276">
                  <c:v>1.0384405173984331E-2</c:v>
                </c:pt>
                <c:pt idx="277">
                  <c:v>7.4527039938849611E-3</c:v>
                </c:pt>
                <c:pt idx="278">
                  <c:v>6.8217054263565889E-3</c:v>
                </c:pt>
                <c:pt idx="279">
                  <c:v>9.184399456697496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155:$H$322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155:$I$322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.0</c:formatCode>
                <c:ptCount val="168"/>
                <c:pt idx="0">
                  <c:v>445.18675485244489</c:v>
                </c:pt>
                <c:pt idx="1">
                  <c:v>444.756604652411</c:v>
                </c:pt>
                <c:pt idx="2">
                  <c:v>455.63192384022386</c:v>
                </c:pt>
                <c:pt idx="3">
                  <c:v>456.54833078812209</c:v>
                </c:pt>
                <c:pt idx="4">
                  <c:v>461.88780392332518</c:v>
                </c:pt>
                <c:pt idx="5">
                  <c:v>469.04138877171454</c:v>
                </c:pt>
                <c:pt idx="6">
                  <c:v>467.90055563249427</c:v>
                </c:pt>
                <c:pt idx="7">
                  <c:v>473.12781567203626</c:v>
                </c:pt>
                <c:pt idx="8">
                  <c:v>483.71325102939147</c:v>
                </c:pt>
                <c:pt idx="9">
                  <c:v>482.51631134234071</c:v>
                </c:pt>
                <c:pt idx="10">
                  <c:v>491.02580442996731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73468176693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5765858585878</c:v>
                </c:pt>
                <c:pt idx="19">
                  <c:v>608.73734177836616</c:v>
                </c:pt>
                <c:pt idx="20">
                  <c:v>619.84643824880618</c:v>
                </c:pt>
                <c:pt idx="21">
                  <c:v>643.27092196804188</c:v>
                </c:pt>
                <c:pt idx="22">
                  <c:v>673.49364906607377</c:v>
                </c:pt>
                <c:pt idx="23">
                  <c:v>700.20971692469914</c:v>
                </c:pt>
                <c:pt idx="24">
                  <c:v>727.17826424856173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6673297837219</c:v>
                </c:pt>
                <c:pt idx="28">
                  <c:v>783.02298152252411</c:v>
                </c:pt>
                <c:pt idx="29">
                  <c:v>791.82235844060824</c:v>
                </c:pt>
                <c:pt idx="30">
                  <c:v>805.30663210253965</c:v>
                </c:pt>
                <c:pt idx="31">
                  <c:v>805.87704867214961</c:v>
                </c:pt>
                <c:pt idx="32">
                  <c:v>790.86854712748959</c:v>
                </c:pt>
                <c:pt idx="33">
                  <c:v>803.08107237192951</c:v>
                </c:pt>
                <c:pt idx="34">
                  <c:v>797.42366213235368</c:v>
                </c:pt>
                <c:pt idx="35">
                  <c:v>781.78863747025309</c:v>
                </c:pt>
                <c:pt idx="36">
                  <c:v>768.51008781703354</c:v>
                </c:pt>
                <c:pt idx="37">
                  <c:v>761.95497281216956</c:v>
                </c:pt>
                <c:pt idx="38">
                  <c:v>730.12385800966319</c:v>
                </c:pt>
                <c:pt idx="39">
                  <c:v>746.86231144576379</c:v>
                </c:pt>
                <c:pt idx="40">
                  <c:v>726.54239003981593</c:v>
                </c:pt>
                <c:pt idx="41">
                  <c:v>720.46418069151127</c:v>
                </c:pt>
                <c:pt idx="42">
                  <c:v>720.24910559149441</c:v>
                </c:pt>
                <c:pt idx="43">
                  <c:v>707.77474979051226</c:v>
                </c:pt>
                <c:pt idx="44">
                  <c:v>684.3222127973612</c:v>
                </c:pt>
                <c:pt idx="45">
                  <c:v>678.86117547519211</c:v>
                </c:pt>
                <c:pt idx="46">
                  <c:v>629.75859503219533</c:v>
                </c:pt>
                <c:pt idx="47">
                  <c:v>615.81611789631495</c:v>
                </c:pt>
                <c:pt idx="48">
                  <c:v>607.00738988692569</c:v>
                </c:pt>
                <c:pt idx="49">
                  <c:v>584.64893057646952</c:v>
                </c:pt>
                <c:pt idx="50">
                  <c:v>556.04394227421722</c:v>
                </c:pt>
                <c:pt idx="51">
                  <c:v>526.30747192404965</c:v>
                </c:pt>
                <c:pt idx="52">
                  <c:v>500.73223720464466</c:v>
                </c:pt>
                <c:pt idx="53">
                  <c:v>482.05810786839163</c:v>
                </c:pt>
                <c:pt idx="54">
                  <c:v>468.05952418468064</c:v>
                </c:pt>
                <c:pt idx="55">
                  <c:v>462.00936811029123</c:v>
                </c:pt>
                <c:pt idx="56">
                  <c:v>449.81554504846162</c:v>
                </c:pt>
                <c:pt idx="57">
                  <c:v>427.9526935771749</c:v>
                </c:pt>
                <c:pt idx="58">
                  <c:v>413.12186276731148</c:v>
                </c:pt>
                <c:pt idx="59">
                  <c:v>397.40267828346509</c:v>
                </c:pt>
                <c:pt idx="60">
                  <c:v>361.16719947626405</c:v>
                </c:pt>
                <c:pt idx="61">
                  <c:v>344.2510753053669</c:v>
                </c:pt>
                <c:pt idx="62">
                  <c:v>345.94362283158711</c:v>
                </c:pt>
                <c:pt idx="63">
                  <c:v>294.36300319274312</c:v>
                </c:pt>
                <c:pt idx="64">
                  <c:v>265.8702279861518</c:v>
                </c:pt>
                <c:pt idx="65">
                  <c:v>263.897147720779</c:v>
                </c:pt>
                <c:pt idx="66">
                  <c:v>254.88269570267795</c:v>
                </c:pt>
                <c:pt idx="67">
                  <c:v>264.06546736427055</c:v>
                </c:pt>
                <c:pt idx="68">
                  <c:v>264.47691538169425</c:v>
                </c:pt>
                <c:pt idx="69">
                  <c:v>255.68688955491515</c:v>
                </c:pt>
                <c:pt idx="70">
                  <c:v>278.58771216106618</c:v>
                </c:pt>
                <c:pt idx="71">
                  <c:v>273.65033595198179</c:v>
                </c:pt>
                <c:pt idx="72">
                  <c:v>242.44574426691605</c:v>
                </c:pt>
                <c:pt idx="73">
                  <c:v>223.57524201325629</c:v>
                </c:pt>
                <c:pt idx="74">
                  <c:v>208.59479374251154</c:v>
                </c:pt>
                <c:pt idx="75">
                  <c:v>202.39502020724075</c:v>
                </c:pt>
                <c:pt idx="76">
                  <c:v>200.97365432886795</c:v>
                </c:pt>
                <c:pt idx="77">
                  <c:v>196.04562921108865</c:v>
                </c:pt>
                <c:pt idx="78">
                  <c:v>184.45027599278433</c:v>
                </c:pt>
                <c:pt idx="79">
                  <c:v>177.30604223570006</c:v>
                </c:pt>
                <c:pt idx="80">
                  <c:v>171.36809925697162</c:v>
                </c:pt>
                <c:pt idx="81">
                  <c:v>165.60782701303981</c:v>
                </c:pt>
                <c:pt idx="82">
                  <c:v>163.42902273895521</c:v>
                </c:pt>
                <c:pt idx="83">
                  <c:v>163.35421400851456</c:v>
                </c:pt>
                <c:pt idx="84">
                  <c:v>156.22868243404045</c:v>
                </c:pt>
                <c:pt idx="85">
                  <c:v>150.83310275100689</c:v>
                </c:pt>
                <c:pt idx="86">
                  <c:v>146.50354747675294</c:v>
                </c:pt>
                <c:pt idx="87">
                  <c:v>142.76311095471931</c:v>
                </c:pt>
                <c:pt idx="88">
                  <c:v>138.68603514570262</c:v>
                </c:pt>
                <c:pt idx="89">
                  <c:v>137.40493563690609</c:v>
                </c:pt>
                <c:pt idx="90">
                  <c:v>134.44063969319444</c:v>
                </c:pt>
                <c:pt idx="91">
                  <c:v>131.07424682336415</c:v>
                </c:pt>
                <c:pt idx="92">
                  <c:v>123.37829867927992</c:v>
                </c:pt>
                <c:pt idx="93">
                  <c:v>117.62737752665318</c:v>
                </c:pt>
                <c:pt idx="94">
                  <c:v>111.493061630518</c:v>
                </c:pt>
                <c:pt idx="95">
                  <c:v>106.56503651273867</c:v>
                </c:pt>
                <c:pt idx="96">
                  <c:v>102.39444979067115</c:v>
                </c:pt>
                <c:pt idx="97">
                  <c:v>101.22556337753564</c:v>
                </c:pt>
                <c:pt idx="98">
                  <c:v>94.913576746603852</c:v>
                </c:pt>
                <c:pt idx="99">
                  <c:v>88.134035550417863</c:v>
                </c:pt>
                <c:pt idx="100">
                  <c:v>82.439220945621628</c:v>
                </c:pt>
                <c:pt idx="101">
                  <c:v>79.175690080147277</c:v>
                </c:pt>
                <c:pt idx="102">
                  <c:v>73.686599484062896</c:v>
                </c:pt>
                <c:pt idx="103">
                  <c:v>72.489659797012123</c:v>
                </c:pt>
                <c:pt idx="104">
                  <c:v>71.302071201266443</c:v>
                </c:pt>
                <c:pt idx="105">
                  <c:v>67.412017218351451</c:v>
                </c:pt>
                <c:pt idx="106">
                  <c:v>62.820631387555139</c:v>
                </c:pt>
                <c:pt idx="107">
                  <c:v>58.276001013284258</c:v>
                </c:pt>
                <c:pt idx="108">
                  <c:v>53.179656252013409</c:v>
                </c:pt>
                <c:pt idx="109">
                  <c:v>49.626241556081439</c:v>
                </c:pt>
                <c:pt idx="110">
                  <c:v>47.157553451539229</c:v>
                </c:pt>
                <c:pt idx="111">
                  <c:v>46.596487973234183</c:v>
                </c:pt>
                <c:pt idx="112">
                  <c:v>42.556816529437839</c:v>
                </c:pt>
                <c:pt idx="113">
                  <c:v>37.497876133387329</c:v>
                </c:pt>
                <c:pt idx="114">
                  <c:v>35.253614220167144</c:v>
                </c:pt>
                <c:pt idx="115">
                  <c:v>33.635875424387592</c:v>
                </c:pt>
                <c:pt idx="116">
                  <c:v>31.59733751987925</c:v>
                </c:pt>
                <c:pt idx="117">
                  <c:v>30.559366385014911</c:v>
                </c:pt>
                <c:pt idx="118">
                  <c:v>29.783225806692929</c:v>
                </c:pt>
                <c:pt idx="119">
                  <c:v>28.062625006557454</c:v>
                </c:pt>
                <c:pt idx="120">
                  <c:v>26.379428571642311</c:v>
                </c:pt>
                <c:pt idx="121">
                  <c:v>24.6214234062865</c:v>
                </c:pt>
                <c:pt idx="122">
                  <c:v>23.892038284489935</c:v>
                </c:pt>
                <c:pt idx="123">
                  <c:v>22.676396414829</c:v>
                </c:pt>
                <c:pt idx="124">
                  <c:v>22.021820023473108</c:v>
                </c:pt>
                <c:pt idx="125" formatCode="General">
                  <c:v>21.8</c:v>
                </c:pt>
                <c:pt idx="126" formatCode="General">
                  <c:v>20.6</c:v>
                </c:pt>
                <c:pt idx="127" formatCode="General">
                  <c:v>1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16768051016021"/>
          <c:y val="0.20299240246086112"/>
          <c:w val="0.78647734453406681"/>
          <c:h val="0.750533659339865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16–29 let</c:v>
                </c:pt>
                <c:pt idx="12">
                  <c:v>do 16 let</c:v>
                </c:pt>
              </c:strCache>
            </c:strRef>
          </c:cat>
          <c:val>
            <c:numRef>
              <c:f>List1!$B$2:$B$14</c:f>
              <c:numCache>
                <c:formatCode>General</c:formatCode>
                <c:ptCount val="13"/>
                <c:pt idx="0">
                  <c:v>16.803000000000001</c:v>
                </c:pt>
                <c:pt idx="1">
                  <c:v>66.395470000000003</c:v>
                </c:pt>
                <c:pt idx="2">
                  <c:v>57.200560000000003</c:v>
                </c:pt>
                <c:pt idx="3">
                  <c:v>32.332859999999997</c:v>
                </c:pt>
                <c:pt idx="4">
                  <c:v>17.616489999999999</c:v>
                </c:pt>
                <c:pt idx="5">
                  <c:v>16.404299999999999</c:v>
                </c:pt>
                <c:pt idx="6">
                  <c:v>14.080069999999999</c:v>
                </c:pt>
                <c:pt idx="7">
                  <c:v>12.41783</c:v>
                </c:pt>
                <c:pt idx="8">
                  <c:v>10.39268</c:v>
                </c:pt>
                <c:pt idx="9">
                  <c:v>8.0993220000000008</c:v>
                </c:pt>
                <c:pt idx="10">
                  <c:v>6.0951610000000001</c:v>
                </c:pt>
                <c:pt idx="11">
                  <c:v>4.38168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16–29 let</c:v>
                </c:pt>
                <c:pt idx="12">
                  <c:v>do 16 let</c:v>
                </c:pt>
              </c:strCache>
            </c:strRef>
          </c:cat>
          <c:val>
            <c:numRef>
              <c:f>List1!$C$2:$C$14</c:f>
              <c:numCache>
                <c:formatCode>General</c:formatCode>
                <c:ptCount val="13"/>
                <c:pt idx="0">
                  <c:v>22.835080000000001</c:v>
                </c:pt>
                <c:pt idx="1">
                  <c:v>11.80334</c:v>
                </c:pt>
                <c:pt idx="2">
                  <c:v>22.439419999999998</c:v>
                </c:pt>
                <c:pt idx="3">
                  <c:v>39.844859999999997</c:v>
                </c:pt>
                <c:pt idx="4">
                  <c:v>47.830170000000003</c:v>
                </c:pt>
                <c:pt idx="5">
                  <c:v>44.385300000000001</c:v>
                </c:pt>
                <c:pt idx="6">
                  <c:v>43.016970000000001</c:v>
                </c:pt>
                <c:pt idx="7">
                  <c:v>41.129930000000002</c:v>
                </c:pt>
                <c:pt idx="8">
                  <c:v>33.615020000000001</c:v>
                </c:pt>
                <c:pt idx="9">
                  <c:v>22.10763</c:v>
                </c:pt>
                <c:pt idx="10">
                  <c:v>13.670299999999999</c:v>
                </c:pt>
                <c:pt idx="11">
                  <c:v>4.58997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16–29 let</c:v>
                </c:pt>
                <c:pt idx="12">
                  <c:v>do 16 let</c:v>
                </c:pt>
              </c:strCache>
            </c:strRef>
          </c:cat>
          <c:val>
            <c:numRef>
              <c:f>List1!$D$2:$D$14</c:f>
              <c:numCache>
                <c:formatCode>General</c:formatCode>
                <c:ptCount val="13"/>
                <c:pt idx="0">
                  <c:v>9.2085170000000005</c:v>
                </c:pt>
                <c:pt idx="1">
                  <c:v>4.7702260000000001</c:v>
                </c:pt>
                <c:pt idx="2">
                  <c:v>3.3719899999999998</c:v>
                </c:pt>
                <c:pt idx="3">
                  <c:v>4.662725</c:v>
                </c:pt>
                <c:pt idx="4">
                  <c:v>6.6891030000000002</c:v>
                </c:pt>
                <c:pt idx="5">
                  <c:v>8.8311309999999992</c:v>
                </c:pt>
                <c:pt idx="6">
                  <c:v>9.7441259999999996</c:v>
                </c:pt>
                <c:pt idx="7">
                  <c:v>10.2662</c:v>
                </c:pt>
                <c:pt idx="8">
                  <c:v>9.9383090000000003</c:v>
                </c:pt>
                <c:pt idx="9">
                  <c:v>10.774050000000001</c:v>
                </c:pt>
                <c:pt idx="10">
                  <c:v>11.71475</c:v>
                </c:pt>
                <c:pt idx="11">
                  <c:v>12.96935</c:v>
                </c:pt>
                <c:pt idx="12">
                  <c:v>10.52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16–29 let</c:v>
                </c:pt>
                <c:pt idx="12">
                  <c:v>do 16 let</c:v>
                </c:pt>
              </c:strCache>
            </c:strRef>
          </c:cat>
          <c:val>
            <c:numRef>
              <c:f>List1!$E$2:$E$14</c:f>
              <c:numCache>
                <c:formatCode>General</c:formatCode>
                <c:ptCount val="13"/>
                <c:pt idx="0">
                  <c:v>4.1792312000000003</c:v>
                </c:pt>
                <c:pt idx="1">
                  <c:v>1.8890522999999999</c:v>
                </c:pt>
                <c:pt idx="2">
                  <c:v>1.5979730000000001</c:v>
                </c:pt>
                <c:pt idx="3">
                  <c:v>1.7728556</c:v>
                </c:pt>
                <c:pt idx="4">
                  <c:v>2.1747019999999999</c:v>
                </c:pt>
                <c:pt idx="5">
                  <c:v>2.6788287</c:v>
                </c:pt>
                <c:pt idx="6">
                  <c:v>3.0926821000000002</c:v>
                </c:pt>
                <c:pt idx="7">
                  <c:v>4.0440252000000001</c:v>
                </c:pt>
                <c:pt idx="8">
                  <c:v>5.9466865999999996</c:v>
                </c:pt>
                <c:pt idx="9">
                  <c:v>8.4845547999999997</c:v>
                </c:pt>
                <c:pt idx="10">
                  <c:v>11.408882999999999</c:v>
                </c:pt>
                <c:pt idx="11">
                  <c:v>8.2404255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16–29 let</c:v>
                </c:pt>
                <c:pt idx="12">
                  <c:v>do 16 let</c:v>
                </c:pt>
              </c:strCache>
            </c:strRef>
          </c:cat>
          <c:val>
            <c:numRef>
              <c:f>List1!$F$2:$F$14</c:f>
              <c:numCache>
                <c:formatCode>General</c:formatCode>
                <c:ptCount val="13"/>
                <c:pt idx="0">
                  <c:v>4.8033330999999997</c:v>
                </c:pt>
                <c:pt idx="1">
                  <c:v>7.6038040000000002</c:v>
                </c:pt>
                <c:pt idx="2">
                  <c:v>6.0355670000000003</c:v>
                </c:pt>
                <c:pt idx="3">
                  <c:v>4.3770392999999999</c:v>
                </c:pt>
                <c:pt idx="4">
                  <c:v>3.8141223000000002</c:v>
                </c:pt>
                <c:pt idx="5">
                  <c:v>3.6536947999999998</c:v>
                </c:pt>
                <c:pt idx="6">
                  <c:v>3.2686378</c:v>
                </c:pt>
                <c:pt idx="7">
                  <c:v>3.0016338</c:v>
                </c:pt>
                <c:pt idx="8">
                  <c:v>3.5968034000000002</c:v>
                </c:pt>
                <c:pt idx="9">
                  <c:v>5.2882610999999997</c:v>
                </c:pt>
                <c:pt idx="10">
                  <c:v>6.4654327</c:v>
                </c:pt>
                <c:pt idx="11">
                  <c:v>10.747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4</c:f>
              <c:strCache>
                <c:ptCount val="13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16–29 let</c:v>
                </c:pt>
                <c:pt idx="12">
                  <c:v>do 16 let</c:v>
                </c:pt>
              </c:strCache>
            </c:strRef>
          </c:cat>
          <c:val>
            <c:numRef>
              <c:f>List1!$G$2:$G$14</c:f>
              <c:numCache>
                <c:formatCode>General</c:formatCode>
                <c:ptCount val="13"/>
                <c:pt idx="0">
                  <c:v>42.170837599999999</c:v>
                </c:pt>
                <c:pt idx="1">
                  <c:v>7.5381095199999999</c:v>
                </c:pt>
                <c:pt idx="2">
                  <c:v>9.3544932599999999</c:v>
                </c:pt>
                <c:pt idx="3">
                  <c:v>17.009657700000002</c:v>
                </c:pt>
                <c:pt idx="4">
                  <c:v>21.875404700000001</c:v>
                </c:pt>
                <c:pt idx="5">
                  <c:v>24.046747</c:v>
                </c:pt>
                <c:pt idx="6">
                  <c:v>26.797504799999999</c:v>
                </c:pt>
                <c:pt idx="7">
                  <c:v>29.1403897</c:v>
                </c:pt>
                <c:pt idx="8">
                  <c:v>36.510504099999999</c:v>
                </c:pt>
                <c:pt idx="9">
                  <c:v>45.246180199999998</c:v>
                </c:pt>
                <c:pt idx="10">
                  <c:v>50.6454722</c:v>
                </c:pt>
                <c:pt idx="11">
                  <c:v>59.071530000000003</c:v>
                </c:pt>
                <c:pt idx="12">
                  <c:v>89.4705672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B-470D-A795-D51EE4875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530918869456E-3"/>
          <c:y val="7.839625914535274E-2"/>
          <c:w val="0.98994552187469609"/>
          <c:h val="4.67918957524540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5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79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0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80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3</c:v>
                </c:pt>
                <c:pt idx="94">
                  <c:v>44</c:v>
                </c:pt>
                <c:pt idx="95">
                  <c:v>31</c:v>
                </c:pt>
                <c:pt idx="96">
                  <c:v>9</c:v>
                </c:pt>
                <c:pt idx="97">
                  <c:v>4</c:v>
                </c:pt>
                <c:pt idx="98">
                  <c:v>43</c:v>
                </c:pt>
                <c:pt idx="99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02606899549129E-2"/>
          <c:y val="3.1245307675528175E-2"/>
          <c:w val="0.92001721588245633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52</c:v>
                </c:pt>
                <c:pt idx="1">
                  <c:v>2478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2</c:v>
                </c:pt>
                <c:pt idx="13">
                  <c:v>1523</c:v>
                </c:pt>
                <c:pt idx="14">
                  <c:v>1326</c:v>
                </c:pt>
                <c:pt idx="15">
                  <c:v>1312</c:v>
                </c:pt>
                <c:pt idx="16">
                  <c:v>1391</c:v>
                </c:pt>
                <c:pt idx="17">
                  <c:v>1255</c:v>
                </c:pt>
                <c:pt idx="18">
                  <c:v>1149</c:v>
                </c:pt>
                <c:pt idx="19">
                  <c:v>1057</c:v>
                </c:pt>
                <c:pt idx="20">
                  <c:v>1011</c:v>
                </c:pt>
                <c:pt idx="21">
                  <c:v>865</c:v>
                </c:pt>
                <c:pt idx="22">
                  <c:v>847</c:v>
                </c:pt>
                <c:pt idx="23">
                  <c:v>877</c:v>
                </c:pt>
                <c:pt idx="24">
                  <c:v>786</c:v>
                </c:pt>
                <c:pt idx="25">
                  <c:v>761</c:v>
                </c:pt>
                <c:pt idx="26">
                  <c:v>670</c:v>
                </c:pt>
                <c:pt idx="27">
                  <c:v>611</c:v>
                </c:pt>
                <c:pt idx="28">
                  <c:v>509</c:v>
                </c:pt>
                <c:pt idx="29">
                  <c:v>510</c:v>
                </c:pt>
                <c:pt idx="30">
                  <c:v>549</c:v>
                </c:pt>
                <c:pt idx="31">
                  <c:v>476</c:v>
                </c:pt>
                <c:pt idx="32">
                  <c:v>439</c:v>
                </c:pt>
                <c:pt idx="33">
                  <c:v>391</c:v>
                </c:pt>
                <c:pt idx="34">
                  <c:v>365</c:v>
                </c:pt>
                <c:pt idx="35">
                  <c:v>298</c:v>
                </c:pt>
                <c:pt idx="36">
                  <c:v>294</c:v>
                </c:pt>
                <c:pt idx="37">
                  <c:v>294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50-420E-A6D5-80711B538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2.82615079301877</c:v>
                </c:pt>
                <c:pt idx="32">
                  <c:v>465.44454499131621</c:v>
                </c:pt>
                <c:pt idx="33">
                  <c:v>430.63470350173083</c:v>
                </c:pt>
                <c:pt idx="34">
                  <c:v>397.92441638020136</c:v>
                </c:pt>
                <c:pt idx="35">
                  <c:v>367.65085148759994</c:v>
                </c:pt>
                <c:pt idx="36">
                  <c:v>340.55668736680252</c:v>
                </c:pt>
                <c:pt idx="37">
                  <c:v>315.42744916638338</c:v>
                </c:pt>
                <c:pt idx="38">
                  <c:v>291.20712875673195</c:v>
                </c:pt>
                <c:pt idx="39">
                  <c:v>268.36195862221638</c:v>
                </c:pt>
                <c:pt idx="40">
                  <c:v>247.00770742687581</c:v>
                </c:pt>
                <c:pt idx="41">
                  <c:v>227.11869602500252</c:v>
                </c:pt>
                <c:pt idx="42">
                  <c:v>209.12903255862668</c:v>
                </c:pt>
                <c:pt idx="43">
                  <c:v>192.87002923741076</c:v>
                </c:pt>
                <c:pt idx="44">
                  <c:v>177.56007747230865</c:v>
                </c:pt>
                <c:pt idx="45">
                  <c:v>162.80853550591686</c:v>
                </c:pt>
                <c:pt idx="46">
                  <c:v>149.02483968013385</c:v>
                </c:pt>
                <c:pt idx="47">
                  <c:v>136.23089620639243</c:v>
                </c:pt>
                <c:pt idx="48">
                  <c:v>124.3598255630603</c:v>
                </c:pt>
                <c:pt idx="49">
                  <c:v>113.33568154217264</c:v>
                </c:pt>
                <c:pt idx="50">
                  <c:v>103.20351147261255</c:v>
                </c:pt>
                <c:pt idx="51">
                  <c:v>93.61228851376535</c:v>
                </c:pt>
                <c:pt idx="52">
                  <c:v>84.605095515771893</c:v>
                </c:pt>
                <c:pt idx="53">
                  <c:v>76.208644947896431</c:v>
                </c:pt>
                <c:pt idx="54">
                  <c:v>68.342205845103308</c:v>
                </c:pt>
                <c:pt idx="55">
                  <c:v>60.959015384547733</c:v>
                </c:pt>
                <c:pt idx="56">
                  <c:v>54.053853708658629</c:v>
                </c:pt>
                <c:pt idx="57">
                  <c:v>47.655241352545289</c:v>
                </c:pt>
                <c:pt idx="58">
                  <c:v>41.561318615624046</c:v>
                </c:pt>
                <c:pt idx="59">
                  <c:v>35.954308724433453</c:v>
                </c:pt>
                <c:pt idx="60">
                  <c:v>30.67759358561889</c:v>
                </c:pt>
                <c:pt idx="61">
                  <c:v>25.678453536464563</c:v>
                </c:pt>
                <c:pt idx="62">
                  <c:v>20.964634800522497</c:v>
                </c:pt>
                <c:pt idx="63">
                  <c:v>16.632971968466009</c:v>
                </c:pt>
                <c:pt idx="64">
                  <c:v>12.567537457544914</c:v>
                </c:pt>
                <c:pt idx="65">
                  <c:v>8.7113642941920748</c:v>
                </c:pt>
                <c:pt idx="66">
                  <c:v>5.1209448104887887</c:v>
                </c:pt>
                <c:pt idx="67">
                  <c:v>1.7977631462538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650-420E-A6D5-80711B538D80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650-420E-A6D5-80711B538D80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3.97789751512971</c:v>
                </c:pt>
                <c:pt idx="32">
                  <c:v>468.53803363752587</c:v>
                </c:pt>
                <c:pt idx="33">
                  <c:v>436.12426831847665</c:v>
                </c:pt>
                <c:pt idx="34">
                  <c:v>406.05947988694726</c:v>
                </c:pt>
                <c:pt idx="35">
                  <c:v>378.74513485070753</c:v>
                </c:pt>
                <c:pt idx="36">
                  <c:v>355.0596468544573</c:v>
                </c:pt>
                <c:pt idx="37">
                  <c:v>333.87344550647214</c:v>
                </c:pt>
                <c:pt idx="38">
                  <c:v>314.05975082707744</c:v>
                </c:pt>
                <c:pt idx="39">
                  <c:v>295.87129027434474</c:v>
                </c:pt>
                <c:pt idx="40">
                  <c:v>279.3250229769896</c:v>
                </c:pt>
                <c:pt idx="41">
                  <c:v>264.31671331592054</c:v>
                </c:pt>
                <c:pt idx="42">
                  <c:v>251.33573264781677</c:v>
                </c:pt>
                <c:pt idx="43">
                  <c:v>240.19736470249649</c:v>
                </c:pt>
                <c:pt idx="44">
                  <c:v>230.03076522160825</c:v>
                </c:pt>
                <c:pt idx="45">
                  <c:v>220.36490432488688</c:v>
                </c:pt>
                <c:pt idx="46">
                  <c:v>211.49647664260823</c:v>
                </c:pt>
                <c:pt idx="47">
                  <c:v>203.44413696782615</c:v>
                </c:pt>
                <c:pt idx="48">
                  <c:v>196.17625426863813</c:v>
                </c:pt>
                <c:pt idx="49">
                  <c:v>189.55929816541209</c:v>
                </c:pt>
                <c:pt idx="50">
                  <c:v>183.62183653489916</c:v>
                </c:pt>
                <c:pt idx="51">
                  <c:v>178.03615524894909</c:v>
                </c:pt>
                <c:pt idx="52">
                  <c:v>172.7808631729967</c:v>
                </c:pt>
                <c:pt idx="53">
                  <c:v>167.87358510048799</c:v>
                </c:pt>
                <c:pt idx="54">
                  <c:v>163.27744029427544</c:v>
                </c:pt>
                <c:pt idx="55">
                  <c:v>158.9340733921895</c:v>
                </c:pt>
                <c:pt idx="56">
                  <c:v>154.8466341994675</c:v>
                </c:pt>
                <c:pt idx="57">
                  <c:v>151.02137736615251</c:v>
                </c:pt>
                <c:pt idx="58">
                  <c:v>147.29323785213853</c:v>
                </c:pt>
                <c:pt idx="59">
                  <c:v>143.79862751718269</c:v>
                </c:pt>
                <c:pt idx="60">
                  <c:v>140.44985933126023</c:v>
                </c:pt>
                <c:pt idx="61">
                  <c:v>137.18829712889283</c:v>
                </c:pt>
                <c:pt idx="62">
                  <c:v>134.03132657393445</c:v>
                </c:pt>
                <c:pt idx="63">
                  <c:v>131.05546551805205</c:v>
                </c:pt>
                <c:pt idx="64">
                  <c:v>128.18436550493874</c:v>
                </c:pt>
                <c:pt idx="65">
                  <c:v>125.37929547769465</c:v>
                </c:pt>
                <c:pt idx="66">
                  <c:v>122.67780579780758</c:v>
                </c:pt>
                <c:pt idx="67">
                  <c:v>120.05678776835312</c:v>
                </c:pt>
                <c:pt idx="68">
                  <c:v>117.52946459370423</c:v>
                </c:pt>
                <c:pt idx="69">
                  <c:v>115.06716332279878</c:v>
                </c:pt>
                <c:pt idx="70">
                  <c:v>112.69502437738188</c:v>
                </c:pt>
                <c:pt idx="71">
                  <c:v>110.38080367324638</c:v>
                </c:pt>
                <c:pt idx="72">
                  <c:v>108.10055769962938</c:v>
                </c:pt>
                <c:pt idx="73">
                  <c:v>105.88592719014662</c:v>
                </c:pt>
                <c:pt idx="74">
                  <c:v>103.74873028981192</c:v>
                </c:pt>
                <c:pt idx="75">
                  <c:v>101.66126118829411</c:v>
                </c:pt>
                <c:pt idx="76">
                  <c:v>99.581150807324946</c:v>
                </c:pt>
                <c:pt idx="77">
                  <c:v>97.614035613730096</c:v>
                </c:pt>
                <c:pt idx="78">
                  <c:v>95.664161887779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650-420E-A6D5-80711B538D8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05.12964423724077</c:v>
                </c:pt>
                <c:pt idx="32">
                  <c:v>471.6635152482387</c:v>
                </c:pt>
                <c:pt idx="33">
                  <c:v>441.65177392864047</c:v>
                </c:pt>
                <c:pt idx="34">
                  <c:v>414.20213946275896</c:v>
                </c:pt>
                <c:pt idx="35">
                  <c:v>389.97010086415906</c:v>
                </c:pt>
                <c:pt idx="36">
                  <c:v>370.0042581651187</c:v>
                </c:pt>
                <c:pt idx="37">
                  <c:v>353.30070826762477</c:v>
                </c:pt>
                <c:pt idx="38">
                  <c:v>338.73737229808228</c:v>
                </c:pt>
                <c:pt idx="39">
                  <c:v>326.24315534371993</c:v>
                </c:pt>
                <c:pt idx="40">
                  <c:v>315.71989351086125</c:v>
                </c:pt>
                <c:pt idx="41">
                  <c:v>307.14496448702016</c:v>
                </c:pt>
                <c:pt idx="42">
                  <c:v>301.12272063722412</c:v>
                </c:pt>
                <c:pt idx="43">
                  <c:v>297.4906919161844</c:v>
                </c:pt>
                <c:pt idx="44">
                  <c:v>295.22727368735781</c:v>
                </c:pt>
                <c:pt idx="45">
                  <c:v>293.79348254363885</c:v>
                </c:pt>
                <c:pt idx="46">
                  <c:v>293.36459142813123</c:v>
                </c:pt>
                <c:pt idx="47">
                  <c:v>294.04133153686001</c:v>
                </c:pt>
                <c:pt idx="48">
                  <c:v>295.79985478544597</c:v>
                </c:pt>
                <c:pt idx="49">
                  <c:v>298.49237085486857</c:v>
                </c:pt>
                <c:pt idx="50">
                  <c:v>302.11914668770544</c:v>
                </c:pt>
                <c:pt idx="51">
                  <c:v>306.22636883227852</c:v>
                </c:pt>
                <c:pt idx="52">
                  <c:v>310.77859970425067</c:v>
                </c:pt>
                <c:pt idx="53">
                  <c:v>315.86956750970148</c:v>
                </c:pt>
                <c:pt idx="54">
                  <c:v>321.47159911662339</c:v>
                </c:pt>
                <c:pt idx="55">
                  <c:v>327.48974036347329</c:v>
                </c:pt>
                <c:pt idx="56">
                  <c:v>333.87667238349968</c:v>
                </c:pt>
                <c:pt idx="57">
                  <c:v>340.67696373429254</c:v>
                </c:pt>
                <c:pt idx="58">
                  <c:v>347.69022927574213</c:v>
                </c:pt>
                <c:pt idx="59">
                  <c:v>355.04261233346358</c:v>
                </c:pt>
                <c:pt idx="60">
                  <c:v>362.70396812488468</c:v>
                </c:pt>
                <c:pt idx="61">
                  <c:v>370.55691956272051</c:v>
                </c:pt>
                <c:pt idx="62">
                  <c:v>378.66441615487236</c:v>
                </c:pt>
                <c:pt idx="63">
                  <c:v>387.07116170486563</c:v>
                </c:pt>
                <c:pt idx="64">
                  <c:v>395.7208595335681</c:v>
                </c:pt>
                <c:pt idx="65">
                  <c:v>404.54248191647264</c:v>
                </c:pt>
                <c:pt idx="66">
                  <c:v>413.62897144805686</c:v>
                </c:pt>
                <c:pt idx="67">
                  <c:v>422.92925480807207</c:v>
                </c:pt>
                <c:pt idx="68">
                  <c:v>432.44426915800068</c:v>
                </c:pt>
                <c:pt idx="69">
                  <c:v>442.13741454931079</c:v>
                </c:pt>
                <c:pt idx="70">
                  <c:v>452.05953465037157</c:v>
                </c:pt>
                <c:pt idx="71">
                  <c:v>462.20982179541375</c:v>
                </c:pt>
                <c:pt idx="72">
                  <c:v>472.50071943325554</c:v>
                </c:pt>
                <c:pt idx="73">
                  <c:v>483.04339526126444</c:v>
                </c:pt>
                <c:pt idx="74">
                  <c:v>493.82542420356265</c:v>
                </c:pt>
                <c:pt idx="75">
                  <c:v>504.77749470337602</c:v>
                </c:pt>
                <c:pt idx="76">
                  <c:v>515.90857242652885</c:v>
                </c:pt>
                <c:pt idx="77">
                  <c:v>527.29682485019487</c:v>
                </c:pt>
                <c:pt idx="78">
                  <c:v>538.89853031518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650-420E-A6D5-80711B538D8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650-420E-A6D5-80711B538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3358494380278356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51</c:v>
                </c:pt>
                <c:pt idx="1">
                  <c:v>557</c:v>
                </c:pt>
                <c:pt idx="2">
                  <c:v>562</c:v>
                </c:pt>
                <c:pt idx="3">
                  <c:v>541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1</c:v>
                </c:pt>
                <c:pt idx="21">
                  <c:v>187</c:v>
                </c:pt>
                <c:pt idx="22">
                  <c:v>185</c:v>
                </c:pt>
                <c:pt idx="23">
                  <c:v>180</c:v>
                </c:pt>
                <c:pt idx="24">
                  <c:v>160</c:v>
                </c:pt>
                <c:pt idx="25">
                  <c:v>153</c:v>
                </c:pt>
                <c:pt idx="26">
                  <c:v>144</c:v>
                </c:pt>
                <c:pt idx="27">
                  <c:v>125</c:v>
                </c:pt>
                <c:pt idx="28">
                  <c:v>108</c:v>
                </c:pt>
                <c:pt idx="29">
                  <c:v>109</c:v>
                </c:pt>
                <c:pt idx="30">
                  <c:v>114</c:v>
                </c:pt>
                <c:pt idx="31">
                  <c:v>95</c:v>
                </c:pt>
                <c:pt idx="32">
                  <c:v>87</c:v>
                </c:pt>
                <c:pt idx="33">
                  <c:v>79</c:v>
                </c:pt>
                <c:pt idx="34">
                  <c:v>67</c:v>
                </c:pt>
                <c:pt idx="35">
                  <c:v>54</c:v>
                </c:pt>
                <c:pt idx="36">
                  <c:v>54</c:v>
                </c:pt>
                <c:pt idx="37">
                  <c:v>53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58-4AB1-B38B-5C9FA2C72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8.21605432753165</c:v>
                </c:pt>
                <c:pt idx="32">
                  <c:v>99.791412100607104</c:v>
                </c:pt>
                <c:pt idx="33">
                  <c:v>91.971402696727992</c:v>
                </c:pt>
                <c:pt idx="34">
                  <c:v>84.482604577250157</c:v>
                </c:pt>
                <c:pt idx="35">
                  <c:v>77.506805132118515</c:v>
                </c:pt>
                <c:pt idx="36">
                  <c:v>71.164896838215526</c:v>
                </c:pt>
                <c:pt idx="37">
                  <c:v>65.243038808012344</c:v>
                </c:pt>
                <c:pt idx="38">
                  <c:v>59.6828987529587</c:v>
                </c:pt>
                <c:pt idx="39">
                  <c:v>54.492189187720371</c:v>
                </c:pt>
                <c:pt idx="40">
                  <c:v>49.613094127429065</c:v>
                </c:pt>
                <c:pt idx="41">
                  <c:v>44.965345182831427</c:v>
                </c:pt>
                <c:pt idx="42">
                  <c:v>40.667103985955116</c:v>
                </c:pt>
                <c:pt idx="43">
                  <c:v>36.778024512549905</c:v>
                </c:pt>
                <c:pt idx="44">
                  <c:v>33.040102749907142</c:v>
                </c:pt>
                <c:pt idx="45">
                  <c:v>29.563642975284964</c:v>
                </c:pt>
                <c:pt idx="46">
                  <c:v>26.325259419531676</c:v>
                </c:pt>
                <c:pt idx="47">
                  <c:v>23.140514177045109</c:v>
                </c:pt>
                <c:pt idx="48">
                  <c:v>20.267273357580471</c:v>
                </c:pt>
                <c:pt idx="49">
                  <c:v>17.550897749233471</c:v>
                </c:pt>
                <c:pt idx="50">
                  <c:v>14.919728057211582</c:v>
                </c:pt>
                <c:pt idx="51">
                  <c:v>12.565902974766217</c:v>
                </c:pt>
                <c:pt idx="52">
                  <c:v>10.253795817869289</c:v>
                </c:pt>
                <c:pt idx="53">
                  <c:v>8.0900785025079589</c:v>
                </c:pt>
                <c:pt idx="54">
                  <c:v>6.0437248935750931</c:v>
                </c:pt>
                <c:pt idx="55">
                  <c:v>4.095745334807769</c:v>
                </c:pt>
                <c:pt idx="56">
                  <c:v>2.3387269157962685</c:v>
                </c:pt>
                <c:pt idx="57">
                  <c:v>0.62440334381814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58-4AB1-B38B-5C9FA2C7267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E58-4AB1-B38B-5C9FA2C7267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8.34548855243033</c:v>
                </c:pt>
                <c:pt idx="32">
                  <c:v>100.15228081873907</c:v>
                </c:pt>
                <c:pt idx="33">
                  <c:v>92.641355156728565</c:v>
                </c:pt>
                <c:pt idx="34">
                  <c:v>85.521567177238978</c:v>
                </c:pt>
                <c:pt idx="35">
                  <c:v>78.982847483081741</c:v>
                </c:pt>
                <c:pt idx="36">
                  <c:v>73.160313180545074</c:v>
                </c:pt>
                <c:pt idx="37">
                  <c:v>67.855813169970048</c:v>
                </c:pt>
                <c:pt idx="38">
                  <c:v>63.006656143735079</c:v>
                </c:pt>
                <c:pt idx="39">
                  <c:v>58.598274993491799</c:v>
                </c:pt>
                <c:pt idx="40">
                  <c:v>54.560571246576174</c:v>
                </c:pt>
                <c:pt idx="41">
                  <c:v>50.80178195703148</c:v>
                </c:pt>
                <c:pt idx="42">
                  <c:v>47.439826811648516</c:v>
                </c:pt>
                <c:pt idx="43">
                  <c:v>44.52917332671425</c:v>
                </c:pt>
                <c:pt idx="44">
                  <c:v>41.797348782875602</c:v>
                </c:pt>
                <c:pt idx="45">
                  <c:v>39.341598644194377</c:v>
                </c:pt>
                <c:pt idx="46">
                  <c:v>37.122095235887706</c:v>
                </c:pt>
                <c:pt idx="47">
                  <c:v>34.948284832390748</c:v>
                </c:pt>
                <c:pt idx="48">
                  <c:v>33.07487178290053</c:v>
                </c:pt>
                <c:pt idx="49">
                  <c:v>31.336528040844186</c:v>
                </c:pt>
                <c:pt idx="50">
                  <c:v>29.655785584418879</c:v>
                </c:pt>
                <c:pt idx="51">
                  <c:v>28.224435855763673</c:v>
                </c:pt>
                <c:pt idx="52">
                  <c:v>26.796647704720801</c:v>
                </c:pt>
                <c:pt idx="53">
                  <c:v>25.475558714683402</c:v>
                </c:pt>
                <c:pt idx="54">
                  <c:v>24.232054498802331</c:v>
                </c:pt>
                <c:pt idx="55">
                  <c:v>23.043475848124832</c:v>
                </c:pt>
                <c:pt idx="56">
                  <c:v>22.001704661763686</c:v>
                </c:pt>
                <c:pt idx="57">
                  <c:v>20.955440726027199</c:v>
                </c:pt>
                <c:pt idx="58">
                  <c:v>20.001617993958373</c:v>
                </c:pt>
                <c:pt idx="59">
                  <c:v>19.07111450308215</c:v>
                </c:pt>
                <c:pt idx="60">
                  <c:v>18.204523725517966</c:v>
                </c:pt>
                <c:pt idx="61">
                  <c:v>17.382268420223649</c:v>
                </c:pt>
                <c:pt idx="62">
                  <c:v>16.566443338300235</c:v>
                </c:pt>
                <c:pt idx="63">
                  <c:v>15.7835763484322</c:v>
                </c:pt>
                <c:pt idx="64">
                  <c:v>15.03039444677526</c:v>
                </c:pt>
                <c:pt idx="65">
                  <c:v>14.326646123118909</c:v>
                </c:pt>
                <c:pt idx="66">
                  <c:v>13.631684047267145</c:v>
                </c:pt>
                <c:pt idx="67">
                  <c:v>12.975114007368836</c:v>
                </c:pt>
                <c:pt idx="68">
                  <c:v>12.346179967400063</c:v>
                </c:pt>
                <c:pt idx="69">
                  <c:v>11.725919097872161</c:v>
                </c:pt>
                <c:pt idx="70">
                  <c:v>11.125929486627189</c:v>
                </c:pt>
                <c:pt idx="71">
                  <c:v>10.547388393697098</c:v>
                </c:pt>
                <c:pt idx="72">
                  <c:v>9.9964870430889796</c:v>
                </c:pt>
                <c:pt idx="73">
                  <c:v>9.4551196317968191</c:v>
                </c:pt>
                <c:pt idx="74">
                  <c:v>8.9165794653803694</c:v>
                </c:pt>
                <c:pt idx="75">
                  <c:v>8.4241237718693718</c:v>
                </c:pt>
                <c:pt idx="76">
                  <c:v>7.9186102192141679</c:v>
                </c:pt>
                <c:pt idx="77">
                  <c:v>7.4517250390477496</c:v>
                </c:pt>
                <c:pt idx="78">
                  <c:v>6.986135338143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E58-4AB1-B38B-5C9FA2C7267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8.47492277732897</c:v>
                </c:pt>
                <c:pt idx="32">
                  <c:v>100.51674493200709</c:v>
                </c:pt>
                <c:pt idx="33">
                  <c:v>93.315938655084238</c:v>
                </c:pt>
                <c:pt idx="34">
                  <c:v>86.562305673626526</c:v>
                </c:pt>
                <c:pt idx="35">
                  <c:v>80.474647764195851</c:v>
                </c:pt>
                <c:pt idx="36">
                  <c:v>75.207821863887119</c:v>
                </c:pt>
                <c:pt idx="37">
                  <c:v>70.586714446407512</c:v>
                </c:pt>
                <c:pt idx="38">
                  <c:v>66.555922339866299</c:v>
                </c:pt>
                <c:pt idx="39">
                  <c:v>63.069769953113017</c:v>
                </c:pt>
                <c:pt idx="40">
                  <c:v>60.046059999931586</c:v>
                </c:pt>
                <c:pt idx="41">
                  <c:v>57.401267418839105</c:v>
                </c:pt>
                <c:pt idx="42">
                  <c:v>55.262796448849173</c:v>
                </c:pt>
                <c:pt idx="43">
                  <c:v>53.688152266838507</c:v>
                </c:pt>
                <c:pt idx="44">
                  <c:v>52.388123884648707</c:v>
                </c:pt>
                <c:pt idx="45">
                  <c:v>51.451150948393376</c:v>
                </c:pt>
                <c:pt idx="46">
                  <c:v>50.82177351579076</c:v>
                </c:pt>
                <c:pt idx="47">
                  <c:v>50.315192469763346</c:v>
                </c:pt>
                <c:pt idx="48">
                  <c:v>50.182124971986219</c:v>
                </c:pt>
                <c:pt idx="49">
                  <c:v>50.253386941668218</c:v>
                </c:pt>
                <c:pt idx="50">
                  <c:v>50.446592101085329</c:v>
                </c:pt>
                <c:pt idx="51">
                  <c:v>50.938384794158836</c:v>
                </c:pt>
                <c:pt idx="52">
                  <c:v>51.477762849228995</c:v>
                </c:pt>
                <c:pt idx="53">
                  <c:v>52.173609917639936</c:v>
                </c:pt>
                <c:pt idx="54">
                  <c:v>52.995091699228169</c:v>
                </c:pt>
                <c:pt idx="55">
                  <c:v>53.913669359427544</c:v>
                </c:pt>
                <c:pt idx="56">
                  <c:v>55.014189384211207</c:v>
                </c:pt>
                <c:pt idx="57">
                  <c:v>56.148138431959595</c:v>
                </c:pt>
                <c:pt idx="58">
                  <c:v>57.407308517132549</c:v>
                </c:pt>
                <c:pt idx="59">
                  <c:v>58.720502742872846</c:v>
                </c:pt>
                <c:pt idx="60">
                  <c:v>60.132998056213999</c:v>
                </c:pt>
                <c:pt idx="61">
                  <c:v>61.617678502153844</c:v>
                </c:pt>
                <c:pt idx="62">
                  <c:v>63.141068898188834</c:v>
                </c:pt>
                <c:pt idx="63">
                  <c:v>64.726405384459369</c:v>
                </c:pt>
                <c:pt idx="64">
                  <c:v>66.372072650262737</c:v>
                </c:pt>
                <c:pt idx="65">
                  <c:v>68.093681626325107</c:v>
                </c:pt>
                <c:pt idx="66">
                  <c:v>69.856440861780797</c:v>
                </c:pt>
                <c:pt idx="67">
                  <c:v>71.686767467435573</c:v>
                </c:pt>
                <c:pt idx="68">
                  <c:v>73.572830877917298</c:v>
                </c:pt>
                <c:pt idx="69">
                  <c:v>75.494615038341792</c:v>
                </c:pt>
                <c:pt idx="70">
                  <c:v>77.466152828732874</c:v>
                </c:pt>
                <c:pt idx="71">
                  <c:v>79.491869785700302</c:v>
                </c:pt>
                <c:pt idx="72">
                  <c:v>81.571774725550426</c:v>
                </c:pt>
                <c:pt idx="73">
                  <c:v>83.696452605850681</c:v>
                </c:pt>
                <c:pt idx="74">
                  <c:v>85.856845224692009</c:v>
                </c:pt>
                <c:pt idx="75">
                  <c:v>88.091995235457929</c:v>
                </c:pt>
                <c:pt idx="76">
                  <c:v>90.348452893665652</c:v>
                </c:pt>
                <c:pt idx="77">
                  <c:v>92.675103056969334</c:v>
                </c:pt>
                <c:pt idx="78">
                  <c:v>95.040508858769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E58-4AB1-B38B-5C9FA2C7267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E58-4AB1-B38B-5C9FA2C72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8593</cdr:x>
      <cdr:y>0.12266</cdr:y>
    </cdr:from>
    <cdr:to>
      <cdr:x>0.68628</cdr:x>
      <cdr:y>0.59934</cdr:y>
    </cdr:to>
    <cdr:cxnSp macro="">
      <cdr:nvCxnSpPr>
        <cdr:cNvPr id="3" name="Přímá spojnice se šipkou 2">
          <a:extLst xmlns:a="http://schemas.openxmlformats.org/drawingml/2006/main">
            <a:ext uri="{FF2B5EF4-FFF2-40B4-BE49-F238E27FC236}">
              <a16:creationId xmlns:a16="http://schemas.microsoft.com/office/drawing/2014/main" id="{7151A9F4-9E2E-4CDF-88A5-D4FC74B7A17F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7473256" y="658131"/>
          <a:ext cx="3813" cy="255755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274</cdr:x>
      <cdr:y>0.05161</cdr:y>
    </cdr:from>
    <cdr:to>
      <cdr:x>0.7274</cdr:x>
      <cdr:y>0.66196</cdr:y>
    </cdr:to>
    <cdr:cxnSp macro="">
      <cdr:nvCxnSpPr>
        <cdr:cNvPr id="5" name="Přímá spojnice se šipkou 4">
          <a:extLst xmlns:a="http://schemas.openxmlformats.org/drawingml/2006/main">
            <a:ext uri="{FF2B5EF4-FFF2-40B4-BE49-F238E27FC236}">
              <a16:creationId xmlns:a16="http://schemas.microsoft.com/office/drawing/2014/main" id="{700C6074-A24D-416A-9933-72AF26D17F6C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7925024" y="276901"/>
          <a:ext cx="0" cy="327474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328</cdr:x>
      <cdr:y>0.05161</cdr:y>
    </cdr:from>
    <cdr:to>
      <cdr:x>0.75328</cdr:x>
      <cdr:y>0.68317</cdr:y>
    </cdr:to>
    <cdr:cxnSp macro="">
      <cdr:nvCxnSpPr>
        <cdr:cNvPr id="8" name="Přímá spojnice se šipkou 7">
          <a:extLst xmlns:a="http://schemas.openxmlformats.org/drawingml/2006/main">
            <a:ext uri="{FF2B5EF4-FFF2-40B4-BE49-F238E27FC236}">
              <a16:creationId xmlns:a16="http://schemas.microsoft.com/office/drawing/2014/main" id="{58B7AC79-D4CF-47BB-94C5-598C7237C23D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8207035" y="276901"/>
          <a:ext cx="0" cy="338854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8036</cdr:x>
      <cdr:y>0.05161</cdr:y>
    </cdr:from>
    <cdr:to>
      <cdr:x>0.78036</cdr:x>
      <cdr:y>0.71382</cdr:y>
    </cdr:to>
    <cdr:cxnSp macro="">
      <cdr:nvCxnSpPr>
        <cdr:cNvPr id="9" name="Přímá spojnice se šipkou 8">
          <a:extLst xmlns:a="http://schemas.openxmlformats.org/drawingml/2006/main">
            <a:ext uri="{FF2B5EF4-FFF2-40B4-BE49-F238E27FC236}">
              <a16:creationId xmlns:a16="http://schemas.microsoft.com/office/drawing/2014/main" id="{58B7AC79-D4CF-47BB-94C5-598C7237C23D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8502067" y="276901"/>
          <a:ext cx="0" cy="3552991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2552</cdr:x>
      <cdr:y>0.16925</cdr:y>
    </cdr:from>
    <cdr:to>
      <cdr:x>0.82552</cdr:x>
      <cdr:y>0.7502</cdr:y>
    </cdr:to>
    <cdr:cxnSp macro="">
      <cdr:nvCxnSpPr>
        <cdr:cNvPr id="6" name="Přímá spojnice se šipkou 5">
          <a:extLst xmlns:a="http://schemas.openxmlformats.org/drawingml/2006/main">
            <a:ext uri="{FF2B5EF4-FFF2-40B4-BE49-F238E27FC236}">
              <a16:creationId xmlns:a16="http://schemas.microsoft.com/office/drawing/2014/main" id="{0FB3EAD5-F755-4F6A-8329-CA80ABCF6BB6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8994026" y="908073"/>
          <a:ext cx="0" cy="311699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6085</cdr:x>
      <cdr:y>0.56917</cdr:y>
    </cdr:from>
    <cdr:to>
      <cdr:x>0.90318</cdr:x>
      <cdr:y>0.72056</cdr:y>
    </cdr:to>
    <cdr:sp macro="" textlink="">
      <cdr:nvSpPr>
        <cdr:cNvPr id="3" name="TextovéPole 2"/>
        <cdr:cNvSpPr txBox="1"/>
      </cdr:nvSpPr>
      <cdr:spPr>
        <a:xfrm xmlns:a="http://schemas.openxmlformats.org/drawingml/2006/main">
          <a:off x="7598741" y="3084156"/>
          <a:ext cx="2786332" cy="82031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cs-CZ" sz="2000" b="1" dirty="0" smtClean="0">
              <a:solidFill>
                <a:srgbClr val="FF0000"/>
              </a:solidFill>
            </a:rPr>
            <a:t>2 – 4 % vysoce rizikových nákaz </a:t>
          </a:r>
          <a:endParaRPr lang="cs-CZ" sz="2000" b="1" dirty="0">
            <a:solidFill>
              <a:srgbClr val="FF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2456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9958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1119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87144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849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22414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853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41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8182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39421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0604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11364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1779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4650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0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Relationship Id="rId6" Type="http://schemas.openxmlformats.org/officeDocument/2006/relationships/image" Target="NUL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9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9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9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Relationship Id="rId6" Type="http://schemas.openxmlformats.org/officeDocument/2006/relationships/image" Target="NUL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9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Relationship Id="rId6" Type="http://schemas.openxmlformats.org/officeDocument/2006/relationships/image" Target="NUL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0.svg"/><Relationship Id="rId5" Type="http://schemas.openxmlformats.org/officeDocument/2006/relationships/image" Target="../media/image22.png"/><Relationship Id="rId4" Type="http://schemas.openxmlformats.org/officeDocument/2006/relationships/image" Target="../media/image19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0.svg"/><Relationship Id="rId5" Type="http://schemas.openxmlformats.org/officeDocument/2006/relationships/image" Target="../media/image22.png"/><Relationship Id="rId4" Type="http://schemas.openxmlformats.org/officeDocument/2006/relationships/image" Target="../media/image1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0.svg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tmp"/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64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06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5830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18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713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8931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98204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00420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3245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0127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8477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6778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06998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889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7069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349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45469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42497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5950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094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7656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137538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8932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87811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205744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2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9707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08389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08346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341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2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1442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21116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69749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992927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2592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802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2265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68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2254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9307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2188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405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5026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010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637527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72596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129738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5274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43278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5030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48588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71936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709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8703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9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5515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6469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1887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6406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9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816816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664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1525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01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027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9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46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jpeg"/><Relationship Id="rId5" Type="http://schemas.openxmlformats.org/officeDocument/2006/relationships/theme" Target="../theme/them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8.sv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3.xml"/><Relationship Id="rId14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1938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41923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41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4261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8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586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8350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29939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781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chart" Target="../charts/chart7.xml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9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image" Target="../media/image25.pn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slideLayout" Target="../slideLayouts/slideLayout39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44.xml"/><Relationship Id="rId4" Type="http://schemas.openxmlformats.org/officeDocument/2006/relationships/tags" Target="../tags/tag4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26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slideLayout" Target="../slideLayouts/slideLayout52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chart" Target="../charts/chart10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slideLayout" Target="../slideLayouts/slideLayout63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6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4" Type="http://schemas.openxmlformats.org/officeDocument/2006/relationships/chart" Target="../charts/chart1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2.emf"/><Relationship Id="rId3" Type="http://schemas.openxmlformats.org/officeDocument/2006/relationships/tags" Target="../tags/tag82.xml"/><Relationship Id="rId7" Type="http://schemas.openxmlformats.org/officeDocument/2006/relationships/slideLayout" Target="../slideLayouts/slideLayout74.xml"/><Relationship Id="rId12" Type="http://schemas.openxmlformats.org/officeDocument/2006/relationships/chart" Target="../charts/chart1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chart" Target="../charts/chart12.xml"/><Relationship Id="rId5" Type="http://schemas.openxmlformats.org/officeDocument/2006/relationships/tags" Target="../tags/tag84.xml"/><Relationship Id="rId10" Type="http://schemas.openxmlformats.org/officeDocument/2006/relationships/image" Target="../media/image31.png"/><Relationship Id="rId4" Type="http://schemas.openxmlformats.org/officeDocument/2006/relationships/tags" Target="../tags/tag83.xml"/><Relationship Id="rId9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14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2.xml"/><Relationship Id="rId4" Type="http://schemas.openxmlformats.org/officeDocument/2006/relationships/tags" Target="../tags/tag8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2" Type="http://schemas.openxmlformats.org/officeDocument/2006/relationships/tags" Target="../tags/tag91.xml"/><Relationship Id="rId16" Type="http://schemas.openxmlformats.org/officeDocument/2006/relationships/chart" Target="../charts/chart15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5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notesSlide" Target="../notesSlides/notesSlide12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slideLayout" Target="../slideLayouts/slideLayout57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chart" Target="../charts/chart17.xml"/><Relationship Id="rId3" Type="http://schemas.openxmlformats.org/officeDocument/2006/relationships/tags" Target="../tags/tag120.xml"/><Relationship Id="rId21" Type="http://schemas.openxmlformats.org/officeDocument/2006/relationships/tags" Target="../tags/tag138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chart" Target="../charts/chart16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chart" Target="../charts/chart20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notesSlide" Target="../notesSlides/notesSlide13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slideLayout" Target="../slideLayouts/slideLayout57.xml"/><Relationship Id="rId28" Type="http://schemas.openxmlformats.org/officeDocument/2006/relationships/chart" Target="../charts/chart19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chart" Target="../charts/chart18.xml"/><Relationship Id="rId30" Type="http://schemas.openxmlformats.org/officeDocument/2006/relationships/chart" Target="../charts/chart2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2" Type="http://schemas.openxmlformats.org/officeDocument/2006/relationships/tags" Target="../tags/tag141.xml"/><Relationship Id="rId16" Type="http://schemas.openxmlformats.org/officeDocument/2006/relationships/chart" Target="../charts/chart23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chart" Target="../charts/chart22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slideLayout" Target="../slideLayouts/slideLayout5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chart" Target="../charts/chart24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slideLayout" Target="../slideLayouts/slideLayout52.xml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5" Type="http://schemas.openxmlformats.org/officeDocument/2006/relationships/tags" Target="../tags/tag157.xml"/><Relationship Id="rId15" Type="http://schemas.openxmlformats.org/officeDocument/2006/relationships/tags" Target="../tags/tag167.xml"/><Relationship Id="rId10" Type="http://schemas.openxmlformats.org/officeDocument/2006/relationships/tags" Target="../tags/tag162.xml"/><Relationship Id="rId19" Type="http://schemas.openxmlformats.org/officeDocument/2006/relationships/chart" Target="../charts/chart25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6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6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95696162-939C-452F-AC59-3F8256F62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129472"/>
              </p:ext>
            </p:extLst>
          </p:nvPr>
        </p:nvGraphicFramePr>
        <p:xfrm>
          <a:off x="424200" y="4023587"/>
          <a:ext cx="11343600" cy="166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 dirty="0"/>
                        <a:t>Stručný </a:t>
                      </a:r>
                      <a:r>
                        <a:rPr lang="cs-CZ" sz="5400" b="1" dirty="0" smtClean="0"/>
                        <a:t>souhrn stavu epidemie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 dirty="0"/>
                        <a:t>- dne 09.06.2021 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752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95696162-939C-452F-AC59-3F8256F62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442600"/>
              </p:ext>
            </p:extLst>
          </p:nvPr>
        </p:nvGraphicFramePr>
        <p:xfrm>
          <a:off x="424200" y="4023587"/>
          <a:ext cx="11343600" cy="2423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 dirty="0" smtClean="0"/>
                        <a:t>Velmi</a:t>
                      </a:r>
                      <a:r>
                        <a:rPr lang="cs-CZ" sz="5400" b="1" baseline="0" dirty="0" smtClean="0"/>
                        <a:t> pozitivní trend: pokračující vakcinace a klesající zátěž nemocnic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9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7574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7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268224" y="701213"/>
          <a:ext cx="11702805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69396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6970" y="1873690"/>
          <a:ext cx="975360" cy="4422340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3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 4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 7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 0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5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3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3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01668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9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830054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4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077139"/>
                  </a:ext>
                </a:extLst>
              </a:tr>
              <a:tr h="3401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3 59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898203" y="1428327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091EAC1-A8DA-420C-8D5B-8905D005F1B6}"/>
              </a:ext>
            </a:extLst>
          </p:cNvPr>
          <p:cNvSpPr/>
          <p:nvPr/>
        </p:nvSpPr>
        <p:spPr>
          <a:xfrm>
            <a:off x="4514728" y="107765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4FD9147-E57A-4764-BE0D-03259447DD56}"/>
              </a:ext>
            </a:extLst>
          </p:cNvPr>
          <p:cNvSpPr/>
          <p:nvPr/>
        </p:nvSpPr>
        <p:spPr>
          <a:xfrm>
            <a:off x="1466728" y="6296031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</p:spTree>
    <p:extLst>
      <p:ext uri="{BB962C8B-B14F-4D97-AF65-F5344CB8AC3E}">
        <p14:creationId xmlns:p14="http://schemas.microsoft.com/office/powerpoint/2010/main" val="28689510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5884300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288565" y="21387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CB419812-463F-450D-85E3-9D4C395152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690982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ty nově potvrzených případů v </a:t>
            </a:r>
            <a:r>
              <a:rPr lang="cs-CZ" sz="3000" b="1" dirty="0" err="1">
                <a:solidFill>
                  <a:prstClr val="black"/>
                </a:solidFill>
              </a:rPr>
              <a:t>seniorní</a:t>
            </a:r>
            <a:r>
              <a:rPr lang="cs-CZ" sz="3000" b="1" dirty="0">
                <a:solidFill>
                  <a:prstClr val="black"/>
                </a:solidFill>
              </a:rPr>
              <a:t> populaci velmi významně klesají. Jde jednoznačně o důsledek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5469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797A924A-FBD4-4ECA-852B-9540B0EFD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3265575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E71860ED-50D2-4C07-A22B-0C852A26C2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691370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8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1174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BA4A7676-7825-4D52-9B63-CF465C37797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3500403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5.–10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5.–1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5.–2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5.–3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6.–7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1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1DD8C2FF-DFB5-43C6-B331-10DDCDA02C1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04587404"/>
              </p:ext>
            </p:extLst>
          </p:nvPr>
        </p:nvGraphicFramePr>
        <p:xfrm>
          <a:off x="432694" y="1679266"/>
          <a:ext cx="11375352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B0B11C7E-A99D-4C91-BBF8-93AEBC9CE2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762457" y="3184654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C3D9EBB-6D56-4DAC-AE31-A2F49A0134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E8D611A-8510-4F29-B022-102153232E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0A189C57-5187-424F-BD1D-D9F99191D5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bdélník 33">
              <a:extLst>
                <a:ext uri="{FF2B5EF4-FFF2-40B4-BE49-F238E27FC236}">
                  <a16:creationId xmlns:a16="http://schemas.microsoft.com/office/drawing/2014/main" id="{91403FAC-85B0-49C0-B5B5-5DA34B00297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5" name="TextovéPole 28">
              <a:extLst>
                <a:ext uri="{FF2B5EF4-FFF2-40B4-BE49-F238E27FC236}">
                  <a16:creationId xmlns:a16="http://schemas.microsoft.com/office/drawing/2014/main" id="{847EE9CA-E329-4EEF-9441-2CA80F44804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7776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C0F85FF0-1445-4DAE-BBA1-6D2208BC13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51799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5.–10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5.–1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5.–2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5.–3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6.–7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5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7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8521346"/>
              </p:ext>
            </p:extLst>
          </p:nvPr>
        </p:nvGraphicFramePr>
        <p:xfrm>
          <a:off x="475423" y="1701324"/>
          <a:ext cx="11270462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711727" y="3164155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0AA204C-B6B5-4A8E-908B-D36789D5F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BB9DE57-DDA1-42D2-9392-9104C6EC33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C2AD528B-97BF-42CA-B10A-3727DD76BA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579981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95696162-939C-452F-AC59-3F8256F62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0004449"/>
              </p:ext>
            </p:extLst>
          </p:nvPr>
        </p:nvGraphicFramePr>
        <p:xfrm>
          <a:off x="424200" y="3693109"/>
          <a:ext cx="11343600" cy="22633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 dirty="0" smtClean="0"/>
                        <a:t>Rizika do budoucna?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 dirty="0" smtClean="0">
                          <a:solidFill>
                            <a:srgbClr val="FF0000"/>
                          </a:solidFill>
                        </a:rPr>
                        <a:t>Stále existující</a:t>
                      </a:r>
                      <a:r>
                        <a:rPr lang="cs-CZ" sz="3900" b="1" i="1" baseline="0" dirty="0" smtClean="0">
                          <a:solidFill>
                            <a:srgbClr val="FF0000"/>
                          </a:solidFill>
                        </a:rPr>
                        <a:t> rozdíly mezi regiony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 baseline="0" dirty="0" smtClean="0">
                          <a:solidFill>
                            <a:srgbClr val="FF0000"/>
                          </a:solidFill>
                        </a:rPr>
                        <a:t>a z</a:t>
                      </a:r>
                      <a:r>
                        <a:rPr lang="cs-CZ" sz="3900" b="1" i="1" dirty="0" smtClean="0">
                          <a:solidFill>
                            <a:srgbClr val="FF0000"/>
                          </a:solidFill>
                        </a:rPr>
                        <a:t>ejména</a:t>
                      </a:r>
                      <a:r>
                        <a:rPr lang="cs-CZ" sz="3900" b="1" i="1" baseline="0" dirty="0" smtClean="0">
                          <a:solidFill>
                            <a:srgbClr val="FF0000"/>
                          </a:solidFill>
                        </a:rPr>
                        <a:t> i</a:t>
                      </a:r>
                      <a:r>
                        <a:rPr lang="cs-CZ" sz="3900" b="1" i="1" dirty="0" smtClean="0">
                          <a:solidFill>
                            <a:srgbClr val="FF0000"/>
                          </a:solidFill>
                        </a:rPr>
                        <a:t>mport nových forem viru </a:t>
                      </a:r>
                      <a:endParaRPr lang="cs-CZ" sz="3900" b="1" i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/>
        </p:nvSpPr>
        <p:spPr>
          <a:xfrm>
            <a:off x="1440611" y="4882731"/>
            <a:ext cx="8453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  <a:endParaRPr lang="cs-CZ" sz="60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762227" y="4824777"/>
            <a:ext cx="8453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  <a:endParaRPr lang="cs-CZ" sz="60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170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DE1477E6-8CD6-4F32-87CD-D1BA8FF8138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11" y="755850"/>
            <a:ext cx="8671765" cy="5682184"/>
          </a:xfrm>
          <a:prstGeom prst="rect">
            <a:avLst/>
          </a:prstGeom>
        </p:spPr>
      </p:pic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48845" y="1029933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72723" y="1554527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9172723" y="1863253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9172723" y="2171979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9172723" y="2480705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9172723" y="2789431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412480" y="1459861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412480" y="177115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412480" y="208244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412480" y="239373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412480" y="270502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9172723" y="3098156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9172723" y="3406880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12480" y="301631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412480" y="332760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172723" y="1279861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412479" y="1215973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172723" y="989519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412479" y="925631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ovéPole 22"/>
          <p:cNvSpPr txBox="1"/>
          <p:nvPr>
            <p:custDataLst>
              <p:tags r:id="rId16"/>
            </p:custDataLst>
          </p:nvPr>
        </p:nvSpPr>
        <p:spPr>
          <a:xfrm>
            <a:off x="8940315" y="4036640"/>
            <a:ext cx="313787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í mapa ORP dokládá stále zvýšenou virovou zátěž regionů JHČ, ZLK, LBK a částečně MSK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moravských okresů dále vykazuje vysoké počty záchytů okres Šumperk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4981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9</a:t>
            </a:r>
            <a:r>
              <a:rPr lang="cs-CZ" dirty="0" smtClean="0"/>
              <a:t>.6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04563" y="1373577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cí trend je významný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tšina krajů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ž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l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týdenní počet nových případů 25/100tis. obyv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503771"/>
              </p:ext>
            </p:extLst>
          </p:nvPr>
        </p:nvGraphicFramePr>
        <p:xfrm>
          <a:off x="579564" y="1033447"/>
          <a:ext cx="6019644" cy="5425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</a:t>
                      </a: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padů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6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epočet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 100tis.obyv.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8 (9.0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(3.8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 (4.1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 (4.0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 (2.8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(4.2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 (2.9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 (4.5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(3.3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3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 (3.3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(3.3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(3.1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(0.7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3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4 (3.6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02242" y="5861264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904916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5627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2DF9DE17-2F08-4465-9B48-5D791580789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6" y="830864"/>
            <a:ext cx="7471360" cy="4895617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25/100tis. obyv. a s R &lt; 0,9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v intervalu 12,5 – 25/100tis. obyv. a s R ≥0,95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25/100tis. obyv. a zároveň s R ≥0,9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/>
          </p:nvPr>
        </p:nvGraphicFramePr>
        <p:xfrm>
          <a:off x="9763125" y="770730"/>
          <a:ext cx="2367915" cy="5998740"/>
        </p:xfrm>
        <a:graphic>
          <a:graphicData uri="http://schemas.openxmlformats.org/drawingml/2006/table">
            <a:tbl>
              <a:tblPr/>
              <a:tblGrid>
                <a:gridCol w="2367915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Chomut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hrud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stí nad Orlic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ý Jič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971357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293178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596663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292572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880910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958692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6740321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830856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991640"/>
                  </a:ext>
                </a:extLst>
              </a:tr>
              <a:tr h="18178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897211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5547949" y="869295"/>
            <a:ext cx="4173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9 okresů (červeně) vykazuje vysoký standardizovaný záchyt počtu nemocných a přitom potenciálně růstovou dynamiku šíření (R blízké 1 nebo nad 1). Velmi rizikový vývoj je pozorován v okresech Č. Krumlov, Klatovy a Prachatice.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</a:t>
            </a:r>
          </a:p>
        </p:txBody>
      </p:sp>
    </p:spTree>
    <p:extLst>
      <p:ext uri="{BB962C8B-B14F-4D97-AF65-F5344CB8AC3E}">
        <p14:creationId xmlns:p14="http://schemas.microsoft.com/office/powerpoint/2010/main" val="247577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3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a indikovaný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ů dosáhla velmi nízkých a bezpečných hodnot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ý je i pokles nově nakažených potenciálně zranitelných skupin obyvatel. Reprodukční číslo osciluje mezi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5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85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5425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605325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22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9640" y="2274887"/>
            <a:ext cx="10668000" cy="1189622"/>
          </a:xfrm>
        </p:spPr>
        <p:txBody>
          <a:bodyPr/>
          <a:lstStyle/>
          <a:p>
            <a:r>
              <a:rPr lang="cs-CZ" dirty="0"/>
              <a:t>Nákaza COVID-19 u dětí</a:t>
            </a:r>
            <a:br>
              <a:rPr lang="cs-CZ" dirty="0"/>
            </a:br>
            <a:r>
              <a:rPr lang="cs-CZ" dirty="0"/>
              <a:t>– </a:t>
            </a:r>
            <a:r>
              <a:rPr lang="cs-CZ" dirty="0" smtClean="0"/>
              <a:t>testy ze škol a individuální </a:t>
            </a:r>
            <a:r>
              <a:rPr lang="cs-CZ" dirty="0"/>
              <a:t>záznamy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9640" y="3890512"/>
            <a:ext cx="10345084" cy="1427671"/>
          </a:xfrm>
        </p:spPr>
        <p:txBody>
          <a:bodyPr>
            <a:normAutofit/>
          </a:bodyPr>
          <a:lstStyle/>
          <a:p>
            <a:r>
              <a:rPr lang="cs-CZ" sz="3800" b="1" dirty="0">
                <a:solidFill>
                  <a:schemeClr val="tx1"/>
                </a:solidFill>
              </a:rPr>
              <a:t>Nákaza COVID-19 u </a:t>
            </a:r>
            <a:r>
              <a:rPr lang="cs-CZ" sz="3800" b="1" dirty="0" smtClean="0">
                <a:solidFill>
                  <a:schemeClr val="tx1"/>
                </a:solidFill>
              </a:rPr>
              <a:t>dětí: </a:t>
            </a:r>
          </a:p>
          <a:p>
            <a:r>
              <a:rPr lang="cs-CZ" sz="3800" b="1" dirty="0" smtClean="0">
                <a:solidFill>
                  <a:schemeClr val="tx1"/>
                </a:solidFill>
              </a:rPr>
              <a:t>ohlédnutí k počátku roku 2021</a:t>
            </a:r>
            <a:endParaRPr lang="cs-CZ" sz="3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5820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dětí na 100 000 v populaci v čase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159349" y="1221506"/>
          <a:ext cx="10895001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4023" y="2281090"/>
            <a:ext cx="118088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nově pozitivních na 100 000 osob v dané věkové skupině v populaci (suma za celý časový úsek)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45459DB-814D-42C7-8ED7-4B73B6D999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90032" y="1344311"/>
            <a:ext cx="1409055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8. 11. 2020 návrat 1. a 2. tříd do škol, otevření speciálních škol a přípravných tříd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0EA8BCC-CFDC-4F5C-8B77-42B810648BB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273498" y="2021213"/>
            <a:ext cx="0" cy="2062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9413FD8F-68CB-4DC6-8D8C-823E55554CC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37094" y="651673"/>
            <a:ext cx="2122301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0. 11. 2020 návrat zbytku ZŠ, 6. – 8. třídy v rotačním režimu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7.12. návrat zbytku ročníků středních škol v rotačním režimu 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F6A14AA8-AA93-446C-A445-994D899C7A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486836" y="2281090"/>
            <a:ext cx="0" cy="1185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B1F6BC51-20A9-4C7B-95BE-8F3D7B41BCFF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748716" y="1306135"/>
            <a:ext cx="0" cy="29270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960562" y="1626628"/>
            <a:ext cx="840440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4972571" y="1793930"/>
            <a:ext cx="29112" cy="1714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délník 24">
            <a:extLst>
              <a:ext uri="{FF2B5EF4-FFF2-40B4-BE49-F238E27FC236}">
                <a16:creationId xmlns:a16="http://schemas.microsoft.com/office/drawing/2014/main" id="{2A7E2B17-91B3-4C5F-B3B7-EFFFC2937B6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71302" y="741344"/>
            <a:ext cx="1409070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4. 10. 2020 uzavření všech škol (mimo mateřských)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C29877F7-C2EA-4475-B617-5F917406F66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785566" y="650906"/>
            <a:ext cx="185693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7151A9F4-9E2E-4CDF-88A5-D4FC74B7A17F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7123994" y="1022216"/>
            <a:ext cx="0" cy="1167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D9D3501B-9CCD-4016-9F08-1143620FA78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1928294" y="1397868"/>
            <a:ext cx="0" cy="7921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Šipka: dolů 6">
            <a:extLst>
              <a:ext uri="{FF2B5EF4-FFF2-40B4-BE49-F238E27FC236}">
                <a16:creationId xmlns:a16="http://schemas.microsoft.com/office/drawing/2014/main" id="{919292CF-A22D-4B76-8368-95740F0B7D9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558873" y="2576714"/>
            <a:ext cx="229223" cy="2339999"/>
          </a:xfrm>
          <a:prstGeom prst="downArrow">
            <a:avLst>
              <a:gd name="adj1" fmla="val 35917"/>
              <a:gd name="adj2" fmla="val 7657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D054E74F-2C5B-4BF7-9ABA-AB41ACF2D46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36883" y="1667270"/>
            <a:ext cx="1428031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0EB07235-BBE1-4B9F-AD03-8718AA9EF94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033046" y="636633"/>
            <a:ext cx="2644819" cy="86177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6. 4. MŠ otevřeny zcela, SŠ a VOŠ praktické vyučování v PLK, HKK, KVK </a:t>
            </a:r>
            <a:b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. 5. dále STC, LBK, PAK, PHA s rozšířením rotační výuky 2. st. ZŠ a od 10. 5. ve zbývajících krajích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EFCD62C0-B068-4F80-98E8-208B76B6FA2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001683" y="1145835"/>
            <a:ext cx="2122311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 pouz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MŠ a 1. a 2. třídách ZŠ, </a:t>
            </a:r>
            <a:b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ravných třídách, speciálních </a:t>
            </a:r>
            <a:b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raktických školách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E1EDB432-3750-44DF-8475-8C304539F70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855121" y="1536242"/>
            <a:ext cx="1428031" cy="5539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4. 5. otevřeny ZŠ, SŠ, VOŠ a VŠ bez rotací v celé ČR</a:t>
            </a:r>
          </a:p>
        </p:txBody>
      </p:sp>
    </p:spTree>
    <p:extLst>
      <p:ext uri="{BB962C8B-B14F-4D97-AF65-F5344CB8AC3E}">
        <p14:creationId xmlns:p14="http://schemas.microsoft.com/office/powerpoint/2010/main" val="29389780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u="sng" dirty="0" smtClean="0"/>
              <a:t>Ohlédnutí zpět</a:t>
            </a:r>
            <a:r>
              <a:rPr lang="cs-CZ" dirty="0" smtClean="0"/>
              <a:t>: literatura </a:t>
            </a:r>
            <a:endParaRPr lang="cs-CZ" dirty="0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739" y="880174"/>
            <a:ext cx="4577654" cy="3139451"/>
          </a:xfrm>
          <a:prstGeom prst="rect">
            <a:avLst/>
          </a:prstGeom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39" y="3494067"/>
            <a:ext cx="4577654" cy="3181053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400708E0-5690-4D93-8DD5-DF97813664FD}"/>
              </a:ext>
            </a:extLst>
          </p:cNvPr>
          <p:cNvSpPr txBox="1"/>
          <p:nvPr/>
        </p:nvSpPr>
        <p:spPr>
          <a:xfrm>
            <a:off x="5084063" y="6010368"/>
            <a:ext cx="72232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e: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DC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ica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ort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in children and the role of school settings in transmissio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irst updat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ember 202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Zástupný obsah 7">
            <a:extLst>
              <a:ext uri="{FF2B5EF4-FFF2-40B4-BE49-F238E27FC236}">
                <a16:creationId xmlns:a16="http://schemas.microsoft.com/office/drawing/2014/main" id="{3E544DBC-B6CC-426C-A6CD-3F221CB3F62D}"/>
              </a:ext>
            </a:extLst>
          </p:cNvPr>
          <p:cNvSpPr txBox="1">
            <a:spLocks/>
          </p:cNvSpPr>
          <p:nvPr/>
        </p:nvSpPr>
        <p:spPr>
          <a:xfrm>
            <a:off x="5289544" y="1208956"/>
            <a:ext cx="681228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 přenosu viru SARS-CoV-2 může dojít i ve školských zařízeních, klastry byly hlášeny v předškolních zařízeních, základních i středních školách. Zdá se, že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skyt onemocnění covid-19 ve školských zařízeních je ovlivněn úrovní komunitního šíření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i vzdělávání, kdy je člověk v kontaktu s mnoha staršími dětmi a dospělými,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ůže b</a:t>
            </a:r>
            <a:r>
              <a:rPr kumimoji="0" lang="cs-CZ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ýt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ýkon povolání pedagoga spojen s vyšším rizikem.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62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 smtClean="0"/>
              <a:t>Vybrané argumenty shrnuté z </a:t>
            </a:r>
            <a:r>
              <a:rPr lang="cs-CZ" dirty="0" smtClean="0"/>
              <a:t>literatury</a:t>
            </a:r>
            <a:endParaRPr lang="cs-CZ" dirty="0"/>
          </a:p>
        </p:txBody>
      </p:sp>
      <p:sp>
        <p:nvSpPr>
          <p:cNvPr id="13" name="Nadpis 6">
            <a:extLst>
              <a:ext uri="{FF2B5EF4-FFF2-40B4-BE49-F238E27FC236}">
                <a16:creationId xmlns:a16="http://schemas.microsoft.com/office/drawing/2014/main" id="{A028C5B2-FD25-4989-B01C-77F0DC75F4C6}"/>
              </a:ext>
            </a:extLst>
          </p:cNvPr>
          <p:cNvSpPr txBox="1">
            <a:spLocks/>
          </p:cNvSpPr>
          <p:nvPr/>
        </p:nvSpPr>
        <p:spPr>
          <a:xfrm>
            <a:off x="271271" y="383413"/>
            <a:ext cx="1095172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4" name="Zástupný obsah 7">
            <a:extLst>
              <a:ext uri="{FF2B5EF4-FFF2-40B4-BE49-F238E27FC236}">
                <a16:creationId xmlns:a16="http://schemas.microsoft.com/office/drawing/2014/main" id="{3E544DBC-B6CC-426C-A6CD-3F221CB3F62D}"/>
              </a:ext>
            </a:extLst>
          </p:cNvPr>
          <p:cNvSpPr txBox="1">
            <a:spLocks/>
          </p:cNvSpPr>
          <p:nvPr/>
        </p:nvSpPr>
        <p:spPr>
          <a:xfrm>
            <a:off x="2330344" y="959413"/>
            <a:ext cx="9677963" cy="498556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le dat získaných ze </a:t>
            </a:r>
            <a:r>
              <a:rPr kumimoji="0" lang="cs-CZ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veillance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dětských případů onemocnění covid-19, u dětí a mladistvých ve věku 1-18 let, nižší počet hospitalizací, nižší počet hospitalizací s těžkým průběhem a nižší počet úmrtí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ž u všech ostatních věkových skupi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i všech věkových skupin jsou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nímavé a mohou přenášet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rus SARS-CoV-2. Zdá se ale, ž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ladší děti jsou méně vnímavé k infekci, a pokud jsou infikovány, infekci přenáší méně často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porovnání se staršími dětmi a dospělými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vírání škol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ůže přispět ke snížení přenosu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u SARS-CoV-2, al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o o sobě nestačí k tomu, aby zabránilo komunitnímu šíření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emocnění covid-19 při absenci dalších </a:t>
            </a:r>
            <a:r>
              <a:rPr kumimoji="0" lang="cs-CZ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farmaceutických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tervencí, jako jsou například omezení hromadného shromažďování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uje obecná shoda, ž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hodnutí zavřít školy, aby bylo možné kontrolovat pandemii covid-19, by mělo být použito jako poslední možnost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Negativní vliv na tělesné a duševní zdraví dětí a výchovný dopad na děti, stejně jako ekonomický dopad na společnost v širším smyslu, by pravděpodobně převažoval nad přínosy proaktivního zavírání škol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vrat dětí do škol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lem poloviny srpna 2020 se shodoval s obecným uvolněním dalších </a:t>
            </a:r>
            <a:r>
              <a:rPr kumimoji="0" lang="cs-CZ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farmaceutických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tervencí v mnoha zemích 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zdá se, že by byl spouštěčem vzestupu případů pozorovaných v mnoha členských státech EU od října 2020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Trendy v počtech hlášených případů pozorované od srpna 2020 u mladistvých ve věku 16–18 let se nejvíce podobají trendům u dospělých ve věku 19–39 let.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F2BE591-4660-40A6-A4D6-C80A765A5C0A}"/>
              </a:ext>
            </a:extLst>
          </p:cNvPr>
          <p:cNvSpPr txBox="1"/>
          <p:nvPr/>
        </p:nvSpPr>
        <p:spPr>
          <a:xfrm>
            <a:off x="124968" y="6394416"/>
            <a:ext cx="11624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e: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DC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ica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ort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ID-19 in children and the role of school settings in transmissio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irst updat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ember 202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00304" y="1099622"/>
            <a:ext cx="2133935" cy="132343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: lehčí průběh nemoci, nicméně vnímavé i infekci; mladší děti zřejmě méně infekční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91676" y="2667367"/>
            <a:ext cx="2133935" cy="156966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zavírání škol samo o sobě nezastaví komunitní šíření; mělo by být použito jako krajní možnos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00304" y="4481333"/>
            <a:ext cx="2133935" cy="132343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lematické důkazy zda školy jsou / nejsou spouštěčem šíření infekc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3798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279038" cy="576000"/>
          </a:xfrm>
        </p:spPr>
        <p:txBody>
          <a:bodyPr/>
          <a:lstStyle/>
          <a:p>
            <a:r>
              <a:rPr lang="cs-CZ" dirty="0" smtClean="0"/>
              <a:t>Nákaza dětí v nejvíce zatížených </a:t>
            </a:r>
            <a:r>
              <a:rPr lang="cs-CZ" dirty="0" smtClean="0"/>
              <a:t>krajích: Q1/2021 </a:t>
            </a:r>
            <a:endParaRPr lang="cs-CZ" dirty="0">
              <a:latin typeface="+mj-lt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32491E8-B641-4FC2-ADEA-0BF8B80C331D}"/>
              </a:ext>
            </a:extLst>
          </p:cNvPr>
          <p:cNvSpPr/>
          <p:nvPr/>
        </p:nvSpPr>
        <p:spPr>
          <a:xfrm>
            <a:off x="0" y="636423"/>
            <a:ext cx="117231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et COVID-19 pozitivních na 100 000 osob v dané věkové skupině v populaci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suma za celý časový úsek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2DBA6E8-80DD-4FFA-A284-9CDB813B73B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4234" y="1218856"/>
            <a:ext cx="3020111" cy="369332"/>
          </a:xfrm>
          <a:prstGeom prst="rect">
            <a:avLst/>
          </a:prstGeom>
          <a:solidFill>
            <a:srgbClr val="FFCCCC"/>
          </a:solidFill>
        </p:spPr>
        <p:txBody>
          <a:bodyPr wrap="square" rtlCol="0">
            <a:spAutoFit/>
          </a:bodyPr>
          <a:lstStyle>
            <a:defPPr>
              <a:defRPr lang="cs-CZ"/>
            </a:defPPr>
            <a:lvl1pPr>
              <a:defRPr sz="24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í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–11 let</a:t>
            </a: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F02B2F33-181C-423C-A110-9C3A7832446D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211680" y="1588188"/>
          <a:ext cx="10800000" cy="4905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" name="Přímá spojnice 2"/>
          <p:cNvCxnSpPr/>
          <p:nvPr/>
        </p:nvCxnSpPr>
        <p:spPr>
          <a:xfrm>
            <a:off x="664234" y="5236234"/>
            <a:ext cx="7522234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965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1" descr="Map&#10;&#10;Description automatically generated">
            <a:extLst>
              <a:ext uri="{FF2B5EF4-FFF2-40B4-BE49-F238E27FC236}">
                <a16:creationId xmlns:a16="http://schemas.microsoft.com/office/drawing/2014/main" id="{37AC3EA8-E040-4991-95BA-952F6B606ED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0" r="6765"/>
          <a:stretch/>
        </p:blipFill>
        <p:spPr>
          <a:xfrm>
            <a:off x="611965" y="798356"/>
            <a:ext cx="1986735" cy="1221238"/>
          </a:xfrm>
          <a:prstGeom prst="rect">
            <a:avLst/>
          </a:prstGeom>
        </p:spPr>
      </p:pic>
      <p:pic>
        <p:nvPicPr>
          <p:cNvPr id="27" name="Picture 2" descr="Map&#10;&#10;Description automatically generated">
            <a:extLst>
              <a:ext uri="{FF2B5EF4-FFF2-40B4-BE49-F238E27FC236}">
                <a16:creationId xmlns:a16="http://schemas.microsoft.com/office/drawing/2014/main" id="{6538C51C-F778-4645-88FE-28E2A267ECB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7" r="7297"/>
          <a:stretch/>
        </p:blipFill>
        <p:spPr>
          <a:xfrm>
            <a:off x="3874716" y="846463"/>
            <a:ext cx="1986735" cy="1221238"/>
          </a:xfrm>
          <a:prstGeom prst="rect">
            <a:avLst/>
          </a:prstGeom>
        </p:spPr>
      </p:pic>
      <p:pic>
        <p:nvPicPr>
          <p:cNvPr id="28" name="Picture 23" descr="Map&#10;&#10;Description automatically generated">
            <a:extLst>
              <a:ext uri="{FF2B5EF4-FFF2-40B4-BE49-F238E27FC236}">
                <a16:creationId xmlns:a16="http://schemas.microsoft.com/office/drawing/2014/main" id="{65186DBF-80C5-4DD0-9162-E274CACB263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7" r="7297"/>
          <a:stretch/>
        </p:blipFill>
        <p:spPr>
          <a:xfrm>
            <a:off x="7117462" y="853885"/>
            <a:ext cx="1986735" cy="1221238"/>
          </a:xfrm>
          <a:prstGeom prst="rect">
            <a:avLst/>
          </a:prstGeom>
        </p:spPr>
      </p:pic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0674433"/>
              </p:ext>
            </p:extLst>
          </p:nvPr>
        </p:nvGraphicFramePr>
        <p:xfrm>
          <a:off x="6093034" y="2705921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7651964" y="2954827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5729807" y="2284088"/>
            <a:ext cx="39164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ní k datu 1.3. 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0384281"/>
              </p:ext>
            </p:extLst>
          </p:nvPr>
        </p:nvGraphicFramePr>
        <p:xfrm>
          <a:off x="5061157" y="3010159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793596" y="2280925"/>
            <a:ext cx="3839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y k datu 1.3. 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1190067"/>
              </p:ext>
            </p:extLst>
          </p:nvPr>
        </p:nvGraphicFramePr>
        <p:xfrm>
          <a:off x="1308735" y="2670255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61233"/>
              </p:ext>
            </p:extLst>
          </p:nvPr>
        </p:nvGraphicFramePr>
        <p:xfrm>
          <a:off x="44904" y="2974493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9601942" y="2952543"/>
            <a:ext cx="25507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ý růst zátěže v zatížených regionech Čech </a:t>
            </a:r>
          </a:p>
        </p:txBody>
      </p:sp>
      <p:sp>
        <p:nvSpPr>
          <p:cNvPr id="21" name="Šipka dolů 20"/>
          <p:cNvSpPr/>
          <p:nvPr/>
        </p:nvSpPr>
        <p:spPr>
          <a:xfrm rot="16200000">
            <a:off x="8796369" y="3258748"/>
            <a:ext cx="1084692" cy="35660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Nadpis 2">
            <a:extLst>
              <a:ext uri="{FF2B5EF4-FFF2-40B4-BE49-F238E27FC236}">
                <a16:creationId xmlns:a16="http://schemas.microsoft.com/office/drawing/2014/main" id="{7F045C48-9E4B-4714-AF89-0E0544DA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n-lt"/>
              </a:rPr>
              <a:t>14denní incidence dětí 3–10 let na 100 tis. dětí 3–10 let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1907CFD2-3ACF-4FB2-8859-B21D109FB07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51152" y="77271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2.2021</a:t>
            </a: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DF80813F-2BA1-459E-A80E-E647301050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67304" y="80248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41BD496B-B1DB-4783-B62F-771740941BE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54912" y="84646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558652" y="606882"/>
            <a:ext cx="1285585" cy="173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03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676DEE4B-6C9D-4EEC-A274-65B0D543421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3139" y="37836"/>
            <a:ext cx="7832903" cy="576000"/>
          </a:xfrm>
        </p:spPr>
        <p:txBody>
          <a:bodyPr/>
          <a:lstStyle/>
          <a:p>
            <a:r>
              <a:rPr lang="cs-CZ" sz="1800" dirty="0">
                <a:latin typeface="+mj-lt"/>
              </a:rPr>
              <a:t>Počet pozitivních kontaktů v roce 2021 u pozitivních do 19 let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AA4C8F5-3961-4435-909E-551EF6EFBFC4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476304" y="883995"/>
          <a:ext cx="1149839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8A7F9BC-8953-402E-BAC2-7F614F14225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803088" y="6302662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e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ontaktů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9C245D-E522-4C1E-B4CD-302AAD0B78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925265" y="3148285"/>
            <a:ext cx="4803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s COVID 19 a alespoň jedním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vedeným rizikovým kontakte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%)</a:t>
            </a:r>
          </a:p>
        </p:txBody>
      </p:sp>
      <p:sp>
        <p:nvSpPr>
          <p:cNvPr id="6" name="Pravá složená závorka 5"/>
          <p:cNvSpPr/>
          <p:nvPr/>
        </p:nvSpPr>
        <p:spPr>
          <a:xfrm rot="16200000">
            <a:off x="9218045" y="2838811"/>
            <a:ext cx="500332" cy="46999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5419079" y="1839002"/>
            <a:ext cx="61776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díl následných pozitivních kontaktů u dětí a mladistvých klesá v trendu leden 2021 -&gt; březen 2021. Ke skokovému snížení došlo v březnu. Přibližně 2 – 4 % nákaz dětí a mladistvých byly pro šíření nemoci vysoce rizikové a generovaly 4 a více následných pozitivních záchytů. </a:t>
            </a:r>
          </a:p>
        </p:txBody>
      </p:sp>
    </p:spTree>
    <p:extLst>
      <p:ext uri="{BB962C8B-B14F-4D97-AF65-F5344CB8AC3E}">
        <p14:creationId xmlns:p14="http://schemas.microsoft.com/office/powerpoint/2010/main" val="2838641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4321" y="-19974"/>
            <a:ext cx="7632200" cy="576000"/>
          </a:xfrm>
        </p:spPr>
        <p:txBody>
          <a:bodyPr/>
          <a:lstStyle/>
          <a:p>
            <a:r>
              <a:rPr lang="cs-CZ" dirty="0"/>
              <a:t>Pozitivní děti 5-11 let na adresních místech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6CF0398-DFFF-43EE-B46E-68A34F8BA20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244443" y="1817200"/>
          <a:ext cx="6505879" cy="1694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6416">
                  <a:extLst>
                    <a:ext uri="{9D8B030D-6E8A-4147-A177-3AD203B41FA5}">
                      <a16:colId xmlns:a16="http://schemas.microsoft.com/office/drawing/2014/main" val="1341121515"/>
                    </a:ext>
                  </a:extLst>
                </a:gridCol>
                <a:gridCol w="1831616">
                  <a:extLst>
                    <a:ext uri="{9D8B030D-6E8A-4147-A177-3AD203B41FA5}">
                      <a16:colId xmlns:a16="http://schemas.microsoft.com/office/drawing/2014/main" val="890716855"/>
                    </a:ext>
                  </a:extLst>
                </a:gridCol>
                <a:gridCol w="1195949">
                  <a:extLst>
                    <a:ext uri="{9D8B030D-6E8A-4147-A177-3AD203B41FA5}">
                      <a16:colId xmlns:a16="http://schemas.microsoft.com/office/drawing/2014/main" val="2167696078"/>
                    </a:ext>
                  </a:extLst>
                </a:gridCol>
                <a:gridCol w="1195949">
                  <a:extLst>
                    <a:ext uri="{9D8B030D-6E8A-4147-A177-3AD203B41FA5}">
                      <a16:colId xmlns:a16="http://schemas.microsoft.com/office/drawing/2014/main" val="220734060"/>
                    </a:ext>
                  </a:extLst>
                </a:gridCol>
                <a:gridCol w="1195949">
                  <a:extLst>
                    <a:ext uri="{9D8B030D-6E8A-4147-A177-3AD203B41FA5}">
                      <a16:colId xmlns:a16="http://schemas.microsoft.com/office/drawing/2014/main" val="4136735738"/>
                    </a:ext>
                  </a:extLst>
                </a:gridCol>
              </a:tblGrid>
              <a:tr h="714402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Děti 1. a 2. tříd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Dospělí pozitivní </a:t>
                      </a:r>
                    </a:p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před i po dítět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Pozitivní </a:t>
                      </a:r>
                    </a:p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pouze dítě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Dospělí pozitivní </a:t>
                      </a:r>
                    </a:p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pouze po dítěti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Dospělí pozitivní </a:t>
                      </a:r>
                    </a:p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před dítětem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444149"/>
                  </a:ext>
                </a:extLst>
              </a:tr>
              <a:tr h="24511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-21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560 (29.5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249 (18.7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1" u="none" strike="noStrike" kern="1200" dirty="0">
                          <a:solidFill>
                            <a:srgbClr val="4472C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515 (20.9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724 (30.9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0123913"/>
                  </a:ext>
                </a:extLst>
              </a:tr>
              <a:tr h="24511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-2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615 (29.1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314 (20.9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1" u="none" strike="noStrike" kern="1200" dirty="0">
                          <a:solidFill>
                            <a:srgbClr val="4472C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288 (27.1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616 (22.8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123735"/>
                  </a:ext>
                </a:extLst>
              </a:tr>
              <a:tr h="24511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-2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952 (36.7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682 (12.5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1" u="none" strike="noStrike" kern="1200" dirty="0">
                          <a:solidFill>
                            <a:srgbClr val="4472C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471 (18.3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374 (32.5%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3361993"/>
                  </a:ext>
                </a:extLst>
              </a:tr>
              <a:tr h="24511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.-11.4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6 (28.4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8 (16.4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1" u="none" strike="noStrike" kern="1200" dirty="0">
                          <a:solidFill>
                            <a:srgbClr val="4472C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2 (16.9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6 (38.4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04052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F2E659A-23C9-4E88-A0D8-77FA25C0F2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16000" y="651629"/>
            <a:ext cx="468000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res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 míst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esp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ň jedním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kaženým dítěte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věku 5-11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AA53746-4683-4FF7-8777-F48A8775A3AE}"/>
              </a:ext>
            </a:extLst>
          </p:cNvPr>
          <p:cNvCxnSpPr>
            <a:stCxn id="11" idx="2"/>
          </p:cNvCxnSpPr>
          <p:nvPr>
            <p:custDataLst>
              <p:tags r:id="rId4"/>
            </p:custDataLst>
          </p:nvPr>
        </p:nvCxnSpPr>
        <p:spPr>
          <a:xfrm flipH="1">
            <a:off x="2236206" y="1297960"/>
            <a:ext cx="1519794" cy="51924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27A6F38-4781-4EB3-B2B5-3CAC3F078EEA}"/>
              </a:ext>
            </a:extLst>
          </p:cNvPr>
          <p:cNvCxnSpPr>
            <a:cxnSpLocks/>
            <a:stCxn id="11" idx="2"/>
          </p:cNvCxnSpPr>
          <p:nvPr>
            <p:custDataLst>
              <p:tags r:id="rId5"/>
            </p:custDataLst>
          </p:nvPr>
        </p:nvCxnSpPr>
        <p:spPr>
          <a:xfrm>
            <a:off x="3756000" y="1297960"/>
            <a:ext cx="0" cy="51924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6B65191-CC51-4E1C-9464-63405A1C8618}"/>
              </a:ext>
            </a:extLst>
          </p:cNvPr>
          <p:cNvCxnSpPr>
            <a:cxnSpLocks/>
            <a:stCxn id="11" idx="2"/>
          </p:cNvCxnSpPr>
          <p:nvPr>
            <p:custDataLst>
              <p:tags r:id="rId6"/>
            </p:custDataLst>
          </p:nvPr>
        </p:nvCxnSpPr>
        <p:spPr>
          <a:xfrm>
            <a:off x="3756000" y="1297960"/>
            <a:ext cx="1195056" cy="51924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794725-E235-413F-AE97-34849BC2753C}"/>
              </a:ext>
            </a:extLst>
          </p:cNvPr>
          <p:cNvCxnSpPr>
            <a:cxnSpLocks/>
            <a:stCxn id="11" idx="2"/>
          </p:cNvCxnSpPr>
          <p:nvPr>
            <p:custDataLst>
              <p:tags r:id="rId7"/>
            </p:custDataLst>
          </p:nvPr>
        </p:nvCxnSpPr>
        <p:spPr>
          <a:xfrm>
            <a:off x="3756000" y="1297960"/>
            <a:ext cx="2364143" cy="52178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ACE75577-D6D0-4C42-9685-5BACCDB5AC7B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712117" y="3844239"/>
          <a:ext cx="5177163" cy="3041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AD63B499-ED10-462B-9CDC-176FFFA1E41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1410922" y="5022239"/>
            <a:ext cx="3494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l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dresných bodů s nákazou dospělého následující po dítět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B673AB-B7FE-4BC5-BBC6-BD62D94BD91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84023" y="2413337"/>
            <a:ext cx="45927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ulka popisuje strukturu adresních míst z hlediska pořadí nákaz mezi dětmi a dospělými v jednotlivých hodnocených měsících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4BF8BF-03DD-43EF-98B4-57F4677321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195700" y="4191242"/>
            <a:ext cx="47694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výstupů vyplývá, že děti ve věku 5-11 let s vysokou pravděpodobností vysvětlují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-27%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 dospělých na adresních místech, kde se alespoň jedno pozitivní dítě ve věku 5-11 let nachází.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hodnoceného období je tato hodnota nejvyšší v únoru 2021.</a:t>
            </a: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49CCC49B-F5D6-4922-8F0A-4EB84BC4555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503859" y="3757187"/>
            <a:ext cx="868423" cy="274486"/>
          </a:xfrm>
          <a:prstGeom prst="downArrow">
            <a:avLst>
              <a:gd name="adj1" fmla="val 50000"/>
              <a:gd name="adj2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41D892B1-EB21-4285-8A5E-0FF47F0421E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00480" y="3757187"/>
            <a:ext cx="2404593" cy="274486"/>
          </a:xfrm>
          <a:prstGeom prst="downArrow">
            <a:avLst>
              <a:gd name="adj1" fmla="val 50000"/>
              <a:gd name="adj2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7974073" y="1181828"/>
            <a:ext cx="3266967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k 11. 4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686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9640" y="2274887"/>
            <a:ext cx="10668000" cy="1189622"/>
          </a:xfrm>
        </p:spPr>
        <p:txBody>
          <a:bodyPr/>
          <a:lstStyle/>
          <a:p>
            <a:r>
              <a:rPr lang="cs-CZ" dirty="0"/>
              <a:t>Nákaza COVID-19 u dětí</a:t>
            </a:r>
            <a:br>
              <a:rPr lang="cs-CZ" dirty="0"/>
            </a:br>
            <a:r>
              <a:rPr lang="cs-CZ" dirty="0"/>
              <a:t>– </a:t>
            </a:r>
            <a:r>
              <a:rPr lang="cs-CZ" dirty="0" smtClean="0"/>
              <a:t>testy ze škol a individuální </a:t>
            </a:r>
            <a:r>
              <a:rPr lang="cs-CZ" dirty="0"/>
              <a:t>záznamy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9640" y="3890512"/>
            <a:ext cx="10345084" cy="1427671"/>
          </a:xfrm>
        </p:spPr>
        <p:txBody>
          <a:bodyPr>
            <a:normAutofit fontScale="92500"/>
          </a:bodyPr>
          <a:lstStyle/>
          <a:p>
            <a:r>
              <a:rPr lang="cs-CZ" sz="3800" b="1" dirty="0">
                <a:solidFill>
                  <a:schemeClr val="tx1"/>
                </a:solidFill>
              </a:rPr>
              <a:t>Nákaza COVID-19 u </a:t>
            </a:r>
            <a:r>
              <a:rPr lang="cs-CZ" sz="3800" b="1" dirty="0" smtClean="0">
                <a:solidFill>
                  <a:schemeClr val="tx1"/>
                </a:solidFill>
              </a:rPr>
              <a:t>dětí: </a:t>
            </a:r>
          </a:p>
          <a:p>
            <a:r>
              <a:rPr lang="cs-CZ" sz="3800" b="1" dirty="0" smtClean="0">
                <a:solidFill>
                  <a:schemeClr val="tx1"/>
                </a:solidFill>
              </a:rPr>
              <a:t>současné populační záchyty a výsledky testů</a:t>
            </a:r>
            <a:endParaRPr lang="cs-CZ" sz="3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7889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y prováděné přímo ve školách jsou školami 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regovaně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ůběžných dat vyplývá, že testy prováděné ve školách neindikují systémový rizikový vývoj či kontinuální eskalaci v šíření epidemie. Hodnoty v jednotlivých krajích různě v čase fluktuují, ale kontinuálně nerostou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79014" y="293376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79014" y="611083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328964" y="1397662"/>
            <a:ext cx="3477940" cy="892552"/>
          </a:xfrm>
          <a:prstGeom prst="rect">
            <a:avLst/>
          </a:prstGeom>
          <a:solidFill>
            <a:srgbClr val="30598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Hlášení KH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Epidemická šetření</a:t>
            </a:r>
          </a:p>
        </p:txBody>
      </p:sp>
      <p:sp>
        <p:nvSpPr>
          <p:cNvPr id="15" name="TextovéPole 14"/>
          <p:cNvSpPr txBox="1"/>
          <p:nvPr/>
        </p:nvSpPr>
        <p:spPr>
          <a:xfrm>
            <a:off x="4220850" y="1373534"/>
            <a:ext cx="3477940" cy="892552"/>
          </a:xfrm>
          <a:prstGeom prst="rect">
            <a:avLst/>
          </a:prstGeom>
          <a:solidFill>
            <a:srgbClr val="30598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Individuální záznamy všech pozitivních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8110429" y="1373533"/>
            <a:ext cx="3477940" cy="892552"/>
          </a:xfrm>
          <a:prstGeom prst="rect">
            <a:avLst/>
          </a:prstGeom>
          <a:solidFill>
            <a:srgbClr val="30598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Screening</a:t>
            </a: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 – testování přímo ve školách</a:t>
            </a:r>
          </a:p>
        </p:txBody>
      </p:sp>
      <p:sp>
        <p:nvSpPr>
          <p:cNvPr id="17" name="Šipka dolů 16"/>
          <p:cNvSpPr/>
          <p:nvPr/>
        </p:nvSpPr>
        <p:spPr>
          <a:xfrm rot="16200000">
            <a:off x="3624882" y="1680165"/>
            <a:ext cx="775682" cy="327546"/>
          </a:xfrm>
          <a:prstGeom prst="downArrow">
            <a:avLst/>
          </a:prstGeom>
          <a:solidFill>
            <a:srgbClr val="D31145"/>
          </a:solidFill>
          <a:ln w="12700" cap="flat" cmpd="sng" algn="ctr">
            <a:solidFill>
              <a:srgbClr val="D3114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Šipka dolů 17"/>
          <p:cNvSpPr/>
          <p:nvPr/>
        </p:nvSpPr>
        <p:spPr>
          <a:xfrm rot="5400000">
            <a:off x="7516768" y="1621730"/>
            <a:ext cx="775682" cy="327546"/>
          </a:xfrm>
          <a:prstGeom prst="downArrow">
            <a:avLst/>
          </a:prstGeom>
          <a:solidFill>
            <a:srgbClr val="D31145"/>
          </a:solidFill>
          <a:ln w="12700" cap="flat" cmpd="sng" algn="ctr">
            <a:solidFill>
              <a:srgbClr val="D3114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865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1585699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92E23565-EDB3-408A-9490-184F32E4E0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8376218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5.–1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5.–1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5.–2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5.–1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6.–8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  <p:cxnSp>
        <p:nvCxnSpPr>
          <p:cNvPr id="9" name="Přímá spojnice se šipkou 8"/>
          <p:cNvCxnSpPr/>
          <p:nvPr/>
        </p:nvCxnSpPr>
        <p:spPr>
          <a:xfrm>
            <a:off x="6144714" y="5017074"/>
            <a:ext cx="5632059" cy="621795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2326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173759" y="4705237"/>
            <a:ext cx="36397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ingové testování ve školách 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4137383" y="3172875"/>
            <a:ext cx="39880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nahlášené individuální pozitivity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8281583" y="1538863"/>
            <a:ext cx="391041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etření KHS: nákazy asociované se školou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73759" y="5800075"/>
            <a:ext cx="46691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regované hlášení, sledování záchytů na 100 tis. testů </a:t>
            </a:r>
            <a:endParaRPr kumimoji="0" lang="cs-CZ" sz="2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8281583" y="185029"/>
            <a:ext cx="3603009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kázané nákazy související se školami </a:t>
            </a:r>
            <a:endParaRPr kumimoji="0" lang="cs-CZ" sz="24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2" name="Přímá spojnice se šipkou 11"/>
          <p:cNvCxnSpPr/>
          <p:nvPr/>
        </p:nvCxnSpPr>
        <p:spPr>
          <a:xfrm flipV="1">
            <a:off x="2947473" y="4169135"/>
            <a:ext cx="1199877" cy="90187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/>
          <p:cNvSpPr txBox="1"/>
          <p:nvPr/>
        </p:nvSpPr>
        <p:spPr>
          <a:xfrm>
            <a:off x="1993625" y="3701399"/>
            <a:ext cx="1879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firmace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Šipka dolů 13"/>
          <p:cNvSpPr/>
          <p:nvPr/>
        </p:nvSpPr>
        <p:spPr>
          <a:xfrm rot="10800000">
            <a:off x="9888773" y="1047933"/>
            <a:ext cx="696035" cy="46353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lů 20"/>
          <p:cNvSpPr/>
          <p:nvPr/>
        </p:nvSpPr>
        <p:spPr>
          <a:xfrm rot="10800000">
            <a:off x="5658905" y="1145716"/>
            <a:ext cx="696035" cy="19564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4309399" y="4203639"/>
            <a:ext cx="35742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ntrální informační systém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ovéPole 22"/>
          <p:cNvSpPr txBox="1"/>
          <p:nvPr/>
        </p:nvSpPr>
        <p:spPr>
          <a:xfrm>
            <a:off x="4171887" y="185029"/>
            <a:ext cx="3603009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počet nákaz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pulaci </a:t>
            </a:r>
            <a:endParaRPr kumimoji="0" lang="cs-CZ" sz="24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hnutá šipka 23"/>
          <p:cNvSpPr/>
          <p:nvPr/>
        </p:nvSpPr>
        <p:spPr>
          <a:xfrm rot="5400000" flipH="1">
            <a:off x="7689556" y="2825413"/>
            <a:ext cx="1876763" cy="1512896"/>
          </a:xfrm>
          <a:prstGeom prst="bentArrow">
            <a:avLst>
              <a:gd name="adj1" fmla="val 22322"/>
              <a:gd name="adj2" fmla="val 7832"/>
              <a:gd name="adj3" fmla="val 25000"/>
              <a:gd name="adj4" fmla="val 3121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hnutá šipka 24"/>
          <p:cNvSpPr/>
          <p:nvPr/>
        </p:nvSpPr>
        <p:spPr>
          <a:xfrm rot="5400000" flipH="1">
            <a:off x="6482081" y="753027"/>
            <a:ext cx="3339532" cy="7176946"/>
          </a:xfrm>
          <a:prstGeom prst="bentArrow">
            <a:avLst>
              <a:gd name="adj1" fmla="val 33767"/>
              <a:gd name="adj2" fmla="val 3863"/>
              <a:gd name="adj3" fmla="val 25000"/>
              <a:gd name="adj4" fmla="val 1198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179126" y="1602964"/>
            <a:ext cx="39880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chyty nákaz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testy, trasování)</a:t>
            </a:r>
            <a:endParaRPr kumimoji="0" lang="cs-CZ" sz="2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Přímá spojnice se šipkou 18"/>
          <p:cNvCxnSpPr/>
          <p:nvPr/>
        </p:nvCxnSpPr>
        <p:spPr>
          <a:xfrm>
            <a:off x="2947473" y="2437761"/>
            <a:ext cx="1246953" cy="86511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3635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dirty="0"/>
              <a:t>5</a:t>
            </a:r>
            <a:r>
              <a:rPr lang="cs-CZ" dirty="0"/>
              <a:t>-1</a:t>
            </a:r>
            <a:r>
              <a:rPr lang="en-US" dirty="0"/>
              <a:t>5</a:t>
            </a:r>
            <a:r>
              <a:rPr lang="cs-CZ" dirty="0"/>
              <a:t> let mezi 12.4 </a:t>
            </a:r>
            <a:r>
              <a:rPr lang="cs-CZ" dirty="0" smtClean="0"/>
              <a:t>– 7.6.2021</a:t>
            </a:r>
            <a:endParaRPr lang="cs-CZ" dirty="0"/>
          </a:p>
        </p:txBody>
      </p:sp>
      <p:sp>
        <p:nvSpPr>
          <p:cNvPr id="3" name="Pravá složená závorka 2"/>
          <p:cNvSpPr/>
          <p:nvPr/>
        </p:nvSpPr>
        <p:spPr>
          <a:xfrm>
            <a:off x="6406903" y="2207519"/>
            <a:ext cx="549041" cy="4033771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7333672" y="2152067"/>
            <a:ext cx="468687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ování prováděné přímo ve školách je třeba vnímat jako </a:t>
            </a:r>
            <a:r>
              <a:rPr kumimoji="0" lang="cs-CZ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edoucí k primárním záchytům na bázi AG testů. Tyto jsou dále konfirmovány a také šetřeny KHS. Vedle tohoto testování běží standardní celo-populační diagnostika, ve které jsou zachytávány pozitivní nálezy u dětí a je šetřeno, zda mají souvislost se školou a školním kolektivem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3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094351"/>
              </p:ext>
            </p:extLst>
          </p:nvPr>
        </p:nvGraphicFramePr>
        <p:xfrm>
          <a:off x="700437" y="2048733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 923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422 (95,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472 (31,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6 950 (63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01 (4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84 (2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17 (2,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24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2" y="1194280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25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30" idx="2"/>
            <a:endCxn id="33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36" idx="2"/>
            <a:endCxn id="31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36" idx="2"/>
            <a:endCxn id="32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33" idx="2"/>
            <a:endCxn id="34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33" idx="2"/>
            <a:endCxn id="35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92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, které nejsou v datech testování ve školách k dispozici)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966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935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7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515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6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8. 6. 2021 18:00</a:t>
            </a:r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</a:t>
            </a: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 923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u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provedené přímo ve školách potvrdi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935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šech záznamů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851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32736820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839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639704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58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62113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 983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374358" y="2513080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9 351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39929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4 997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890382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1 730</a:t>
            </a:r>
          </a:p>
        </p:txBody>
      </p:sp>
    </p:spTree>
    <p:extLst>
      <p:ext uri="{BB962C8B-B14F-4D97-AF65-F5344CB8AC3E}">
        <p14:creationId xmlns:p14="http://schemas.microsoft.com/office/powerpoint/2010/main" val="37684763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014337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8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6.2021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549748" y="2073328"/>
            <a:ext cx="327077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5 – 11 let mezi 13.4. a 1.5., a rovněž mezi 1.5. a 7.6., ve 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především kraj Moravskoslezský, Zlínský a Liberecký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6783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4034343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8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6.2021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589806" y="1949794"/>
            <a:ext cx="342759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12 – 19 let mezi 13.4. a 1.5., a rovněž mezi 1.5. a 7.6., ve 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především kraj Plzeňský a Jihočeský.</a:t>
            </a:r>
          </a:p>
        </p:txBody>
      </p:sp>
    </p:spTree>
    <p:extLst>
      <p:ext uri="{BB962C8B-B14F-4D97-AF65-F5344CB8AC3E}">
        <p14:creationId xmlns:p14="http://schemas.microsoft.com/office/powerpoint/2010/main" val="31184974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Identifikovaná ohniska </a:t>
            </a:r>
            <a:br>
              <a:rPr lang="cs-CZ" dirty="0"/>
            </a:br>
            <a:r>
              <a:rPr lang="cs-CZ" dirty="0"/>
              <a:t>ve školských zařízeních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5944" y="3763947"/>
            <a:ext cx="9869424" cy="1564690"/>
          </a:xfrm>
        </p:spPr>
        <p:txBody>
          <a:bodyPr>
            <a:normAutofit/>
          </a:bodyPr>
          <a:lstStyle/>
          <a:p>
            <a:r>
              <a:rPr lang="cs-CZ" sz="3800" b="1" dirty="0">
                <a:solidFill>
                  <a:schemeClr val="tx1"/>
                </a:solidFill>
              </a:rPr>
              <a:t>Školy jako identifikovaná ohniska nákazy </a:t>
            </a:r>
          </a:p>
          <a:p>
            <a:r>
              <a:rPr lang="cs-CZ" sz="3800" b="1" dirty="0">
                <a:solidFill>
                  <a:schemeClr val="tx1"/>
                </a:solidFill>
              </a:rPr>
              <a:t>- analýza trendů a rizik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2658737" y="5328637"/>
            <a:ext cx="6874526" cy="43088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přímé zadání KHS o provedených šetřeních</a:t>
            </a:r>
          </a:p>
        </p:txBody>
      </p:sp>
    </p:spTree>
    <p:extLst>
      <p:ext uri="{BB962C8B-B14F-4D97-AF65-F5344CB8AC3E}">
        <p14:creationId xmlns:p14="http://schemas.microsoft.com/office/powerpoint/2010/main" val="6637141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923935" cy="576000"/>
          </a:xfrm>
        </p:spPr>
        <p:txBody>
          <a:bodyPr/>
          <a:lstStyle/>
          <a:p>
            <a:r>
              <a:rPr lang="cs-CZ" dirty="0"/>
              <a:t>Školská zařízení jako ohniska COVID-19: vývoj v čase</a:t>
            </a:r>
            <a:endParaRPr lang="cs-CZ" sz="2000" dirty="0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68F3A4E-914F-4302-8185-D954BCC101FA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žáci a studenti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1C62C63-D601-4704-ACEB-25F86A1FFDA0}"/>
              </a:ext>
            </a:extLst>
          </p:cNvPr>
          <p:cNvGraphicFramePr/>
          <p:nvPr>
            <p:extLst/>
          </p:nvPr>
        </p:nvGraphicFramePr>
        <p:xfrm>
          <a:off x="377483" y="999070"/>
          <a:ext cx="11716529" cy="521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A6EC1AFA-7ECF-4AA8-B9C3-D4D5836E88E5}"/>
              </a:ext>
            </a:extLst>
          </p:cNvPr>
          <p:cNvSpPr/>
          <p:nvPr/>
        </p:nvSpPr>
        <p:spPr>
          <a:xfrm>
            <a:off x="738462" y="648154"/>
            <a:ext cx="70956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osob v ohniscích ve školských zařízeních (dle záznamů KHS)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35A34B06-3F1C-44F4-8964-C38BC8F367DD}"/>
              </a:ext>
            </a:extLst>
          </p:cNvPr>
          <p:cNvCxnSpPr/>
          <p:nvPr/>
        </p:nvCxnSpPr>
        <p:spPr>
          <a:xfrm>
            <a:off x="2315641" y="2158615"/>
            <a:ext cx="0" cy="20116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bdélník 29">
            <a:extLst>
              <a:ext uri="{FF2B5EF4-FFF2-40B4-BE49-F238E27FC236}">
                <a16:creationId xmlns:a16="http://schemas.microsoft.com/office/drawing/2014/main" id="{8FA5655E-1178-4187-A894-8E4BF60BC402}"/>
              </a:ext>
            </a:extLst>
          </p:cNvPr>
          <p:cNvSpPr/>
          <p:nvPr/>
        </p:nvSpPr>
        <p:spPr>
          <a:xfrm>
            <a:off x="1101563" y="1646830"/>
            <a:ext cx="1355885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4. 10. 2020 uzavření všech škol (mimo mateřských)</a:t>
            </a: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399E7AEF-B934-4748-8FF1-D92FDBD30BCC}"/>
              </a:ext>
            </a:extLst>
          </p:cNvPr>
          <p:cNvSpPr/>
          <p:nvPr/>
        </p:nvSpPr>
        <p:spPr>
          <a:xfrm>
            <a:off x="2463840" y="1493049"/>
            <a:ext cx="1389990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8. 11. 2020 návrat 1. a 2. tříd do škol, otevření speciálních škol a přípravných tříd</a:t>
            </a: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D20D3E06-2A32-4C03-A2D4-3CC8E6D1A19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0960" y="5926239"/>
          <a:ext cx="9853720" cy="375285"/>
        </p:xfrm>
        <a:graphic>
          <a:graphicData uri="http://schemas.openxmlformats.org/drawingml/2006/table">
            <a:tbl>
              <a:tblPr/>
              <a:tblGrid>
                <a:gridCol w="570440">
                  <a:extLst>
                    <a:ext uri="{9D8B030D-6E8A-4147-A177-3AD203B41FA5}">
                      <a16:colId xmlns:a16="http://schemas.microsoft.com/office/drawing/2014/main" val="3477426339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057122252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095308775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4236909815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410121355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727066907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63177340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517248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426615486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355729246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139665668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98122654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968144063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982776992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8072546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59849831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332453339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548388223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37036387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629782497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469896410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642921040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84996200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032782812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323855970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87263075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807542188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420663127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22472020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890870844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4230996052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344361654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234870118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435687831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016556897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61317579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791700215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916757744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1564585547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2769709357"/>
                    </a:ext>
                  </a:extLst>
                </a:gridCol>
                <a:gridCol w="232082">
                  <a:extLst>
                    <a:ext uri="{9D8B030D-6E8A-4147-A177-3AD203B41FA5}">
                      <a16:colId xmlns:a16="http://schemas.microsoft.com/office/drawing/2014/main" val="357938994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</a:t>
                      </a:r>
                    </a:p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hnisek: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1774172"/>
                  </a:ext>
                </a:extLst>
              </a:tr>
            </a:tbl>
          </a:graphicData>
        </a:graphic>
      </p:graphicFrame>
      <p:sp>
        <p:nvSpPr>
          <p:cNvPr id="33" name="Obdélník 32">
            <a:extLst>
              <a:ext uri="{FF2B5EF4-FFF2-40B4-BE49-F238E27FC236}">
                <a16:creationId xmlns:a16="http://schemas.microsoft.com/office/drawing/2014/main" id="{9A687758-B1CC-4B4B-BE56-23C2E11E6E3D}"/>
              </a:ext>
            </a:extLst>
          </p:cNvPr>
          <p:cNvSpPr/>
          <p:nvPr/>
        </p:nvSpPr>
        <p:spPr>
          <a:xfrm>
            <a:off x="3943074" y="1449337"/>
            <a:ext cx="2056744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0. 11. 2020 návrat zbytku ZŠ, 6. – 8. třídy v rotačním režimu, od 7.12. návrat zbytku ročníků středních škol v rotačním režimu 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37C8F71A-D7C8-4BB9-B746-1C7BF1BFECFD}"/>
              </a:ext>
            </a:extLst>
          </p:cNvPr>
          <p:cNvCxnSpPr>
            <a:cxnSpLocks/>
          </p:cNvCxnSpPr>
          <p:nvPr/>
        </p:nvCxnSpPr>
        <p:spPr>
          <a:xfrm>
            <a:off x="3689599" y="3888219"/>
            <a:ext cx="0" cy="792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D5C267BD-CE73-4581-8136-D4EB8F99E51C}"/>
              </a:ext>
            </a:extLst>
          </p:cNvPr>
          <p:cNvCxnSpPr>
            <a:cxnSpLocks/>
          </p:cNvCxnSpPr>
          <p:nvPr/>
        </p:nvCxnSpPr>
        <p:spPr>
          <a:xfrm>
            <a:off x="4125534" y="2119894"/>
            <a:ext cx="0" cy="1584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bdélník 37">
            <a:extLst>
              <a:ext uri="{FF2B5EF4-FFF2-40B4-BE49-F238E27FC236}">
                <a16:creationId xmlns:a16="http://schemas.microsoft.com/office/drawing/2014/main" id="{2A67084A-B389-45A0-8B7C-F0EA7AEAFC5F}"/>
              </a:ext>
            </a:extLst>
          </p:cNvPr>
          <p:cNvSpPr/>
          <p:nvPr/>
        </p:nvSpPr>
        <p:spPr>
          <a:xfrm>
            <a:off x="4497162" y="2382063"/>
            <a:ext cx="1103202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 12. do 3.1. vánoční školní prázdniny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DC315206-957F-44A0-AE1F-ADC78220A94B}"/>
              </a:ext>
            </a:extLst>
          </p:cNvPr>
          <p:cNvCxnSpPr>
            <a:cxnSpLocks/>
          </p:cNvCxnSpPr>
          <p:nvPr/>
        </p:nvCxnSpPr>
        <p:spPr>
          <a:xfrm>
            <a:off x="3906188" y="2119894"/>
            <a:ext cx="0" cy="23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délník 21">
            <a:extLst>
              <a:ext uri="{FF2B5EF4-FFF2-40B4-BE49-F238E27FC236}">
                <a16:creationId xmlns:a16="http://schemas.microsoft.com/office/drawing/2014/main" id="{3CE75A8D-715F-47AC-BCC6-610C870C5798}"/>
              </a:ext>
            </a:extLst>
          </p:cNvPr>
          <p:cNvSpPr/>
          <p:nvPr/>
        </p:nvSpPr>
        <p:spPr>
          <a:xfrm>
            <a:off x="6682220" y="1172952"/>
            <a:ext cx="1251815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0106EEE2-F940-4B4C-892C-D0BF38CA4A1F}"/>
              </a:ext>
            </a:extLst>
          </p:cNvPr>
          <p:cNvCxnSpPr>
            <a:cxnSpLocks/>
          </p:cNvCxnSpPr>
          <p:nvPr/>
        </p:nvCxnSpPr>
        <p:spPr>
          <a:xfrm>
            <a:off x="6875384" y="1590030"/>
            <a:ext cx="0" cy="190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74FA307E-ECE4-4EBF-898A-5782BFE0CDF9}"/>
              </a:ext>
            </a:extLst>
          </p:cNvPr>
          <p:cNvCxnSpPr>
            <a:cxnSpLocks/>
          </p:cNvCxnSpPr>
          <p:nvPr/>
        </p:nvCxnSpPr>
        <p:spPr>
          <a:xfrm>
            <a:off x="4578598" y="2692591"/>
            <a:ext cx="0" cy="180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délník 24">
            <a:extLst>
              <a:ext uri="{FF2B5EF4-FFF2-40B4-BE49-F238E27FC236}">
                <a16:creationId xmlns:a16="http://schemas.microsoft.com/office/drawing/2014/main" id="{B5DFB1C2-4D43-4F55-A1EA-799240C306AE}"/>
              </a:ext>
            </a:extLst>
          </p:cNvPr>
          <p:cNvSpPr/>
          <p:nvPr/>
        </p:nvSpPr>
        <p:spPr>
          <a:xfrm>
            <a:off x="3460788" y="2323090"/>
            <a:ext cx="583573" cy="15234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1. Návrat studentů posledního ročníku SŠ a VOŠ, vybrané praktické výuky pro VŠ, SŠ, VOŠ</a:t>
            </a:r>
            <a:endParaRPr kumimoji="0" lang="cs-CZ" sz="11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77641CA5-5EE1-48DD-B04C-899F77A431CE}"/>
              </a:ext>
            </a:extLst>
          </p:cNvPr>
          <p:cNvCxnSpPr>
            <a:cxnSpLocks/>
          </p:cNvCxnSpPr>
          <p:nvPr/>
        </p:nvCxnSpPr>
        <p:spPr>
          <a:xfrm>
            <a:off x="3437174" y="2158615"/>
            <a:ext cx="0" cy="23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E5E9D7FF-7952-4EC0-8554-4EF33D9614C9}"/>
              </a:ext>
            </a:extLst>
          </p:cNvPr>
          <p:cNvCxnSpPr>
            <a:cxnSpLocks/>
          </p:cNvCxnSpPr>
          <p:nvPr/>
        </p:nvCxnSpPr>
        <p:spPr>
          <a:xfrm>
            <a:off x="8208884" y="2999730"/>
            <a:ext cx="0" cy="20283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bdélník 33">
            <a:extLst>
              <a:ext uri="{FF2B5EF4-FFF2-40B4-BE49-F238E27FC236}">
                <a16:creationId xmlns:a16="http://schemas.microsoft.com/office/drawing/2014/main" id="{CC967854-4502-46B4-B642-2CD3604E279B}"/>
              </a:ext>
            </a:extLst>
          </p:cNvPr>
          <p:cNvSpPr/>
          <p:nvPr/>
        </p:nvSpPr>
        <p:spPr>
          <a:xfrm>
            <a:off x="7634960" y="2503862"/>
            <a:ext cx="1765142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2. 4. obnovení prezenční výuky v nižších ročnících ZŠ, rotační režimy </a:t>
            </a:r>
          </a:p>
        </p:txBody>
      </p:sp>
    </p:spTree>
    <p:extLst>
      <p:ext uri="{BB962C8B-B14F-4D97-AF65-F5344CB8AC3E}">
        <p14:creationId xmlns:p14="http://schemas.microsoft.com/office/powerpoint/2010/main" val="19252332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56" y="-31908"/>
            <a:ext cx="7588419" cy="576000"/>
          </a:xfrm>
        </p:spPr>
        <p:txBody>
          <a:bodyPr/>
          <a:lstStyle/>
          <a:p>
            <a:r>
              <a:rPr lang="cs-CZ" sz="1800" dirty="0"/>
              <a:t>Počty nově COVID pozitivních pedagogů a pracovníků ve školství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1C62C63-D601-4704-ACEB-25F86A1FFDA0}"/>
              </a:ext>
            </a:extLst>
          </p:cNvPr>
          <p:cNvGraphicFramePr/>
          <p:nvPr>
            <p:extLst/>
          </p:nvPr>
        </p:nvGraphicFramePr>
        <p:xfrm>
          <a:off x="0" y="1193203"/>
          <a:ext cx="12192000" cy="3912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3CD5083-AAB8-4D0C-88B5-ACD4735FC7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8198" y="5097090"/>
          <a:ext cx="11968194" cy="1439648"/>
        </p:xfrm>
        <a:graphic>
          <a:graphicData uri="http://schemas.openxmlformats.org/drawingml/2006/table">
            <a:tbl>
              <a:tblPr/>
              <a:tblGrid>
                <a:gridCol w="440035">
                  <a:extLst>
                    <a:ext uri="{9D8B030D-6E8A-4147-A177-3AD203B41FA5}">
                      <a16:colId xmlns:a16="http://schemas.microsoft.com/office/drawing/2014/main" val="4072679681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091570815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79622941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571820945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903709576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6733847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705078480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67459363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23500910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518328394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4203563866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5543010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055503496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260476656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828375089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425166857"/>
                    </a:ext>
                  </a:extLst>
                </a:gridCol>
                <a:gridCol w="284272">
                  <a:extLst>
                    <a:ext uri="{9D8B030D-6E8A-4147-A177-3AD203B41FA5}">
                      <a16:colId xmlns:a16="http://schemas.microsoft.com/office/drawing/2014/main" val="355175260"/>
                    </a:ext>
                  </a:extLst>
                </a:gridCol>
                <a:gridCol w="292135">
                  <a:extLst>
                    <a:ext uri="{9D8B030D-6E8A-4147-A177-3AD203B41FA5}">
                      <a16:colId xmlns:a16="http://schemas.microsoft.com/office/drawing/2014/main" val="17317226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223535985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76982774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4096791509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14859704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760486626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360195942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928058291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763441660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75870830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4150479108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59274681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98559671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74252665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263903858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026916378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916247777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418713991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396743517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717214002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272219125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480803499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1890639123"/>
                    </a:ext>
                  </a:extLst>
                </a:gridCol>
                <a:gridCol w="288204">
                  <a:extLst>
                    <a:ext uri="{9D8B030D-6E8A-4147-A177-3AD203B41FA5}">
                      <a16:colId xmlns:a16="http://schemas.microsoft.com/office/drawing/2014/main" val="391402060"/>
                    </a:ext>
                  </a:extLst>
                </a:gridCol>
              </a:tblGrid>
              <a:tr h="402613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.*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262035"/>
                  </a:ext>
                </a:extLst>
              </a:tr>
              <a:tr h="207407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29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4006327"/>
                  </a:ext>
                </a:extLst>
              </a:tr>
              <a:tr h="207407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49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847039"/>
                  </a:ext>
                </a:extLst>
              </a:tr>
              <a:tr h="207407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64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002880"/>
                  </a:ext>
                </a:extLst>
              </a:tr>
              <a:tr h="207407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+ l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446599"/>
                  </a:ext>
                </a:extLst>
              </a:tr>
              <a:tr h="207407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3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2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4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3617800"/>
                  </a:ext>
                </a:extLst>
              </a:tr>
            </a:tbl>
          </a:graphicData>
        </a:graphic>
      </p:graphicFrame>
      <p:sp>
        <p:nvSpPr>
          <p:cNvPr id="35" name="Obdélník 34">
            <a:extLst>
              <a:ext uri="{FF2B5EF4-FFF2-40B4-BE49-F238E27FC236}">
                <a16:creationId xmlns:a16="http://schemas.microsoft.com/office/drawing/2014/main" id="{7AC1D0CE-5532-4291-872E-5D89A2E040AB}"/>
              </a:ext>
            </a:extLst>
          </p:cNvPr>
          <p:cNvSpPr/>
          <p:nvPr/>
        </p:nvSpPr>
        <p:spPr>
          <a:xfrm>
            <a:off x="2780565" y="1914709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9,3 %</a:t>
            </a: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EB281DBB-E58E-41F7-8A4C-C102E1F549FA}"/>
              </a:ext>
            </a:extLst>
          </p:cNvPr>
          <p:cNvSpPr/>
          <p:nvPr/>
        </p:nvSpPr>
        <p:spPr>
          <a:xfrm>
            <a:off x="3041211" y="2598152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29,1 %</a:t>
            </a: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23F8A38D-21A2-4855-82E0-F7ED47B86F50}"/>
              </a:ext>
            </a:extLst>
          </p:cNvPr>
          <p:cNvSpPr/>
          <p:nvPr/>
        </p:nvSpPr>
        <p:spPr>
          <a:xfrm>
            <a:off x="3301857" y="327726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43,8 %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6D87B8EB-995F-4707-86C3-5F92E8C0B931}"/>
              </a:ext>
            </a:extLst>
          </p:cNvPr>
          <p:cNvSpPr/>
          <p:nvPr/>
        </p:nvSpPr>
        <p:spPr>
          <a:xfrm>
            <a:off x="3562503" y="350411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9,8 %</a:t>
            </a: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AE3AF5CD-57D6-43B9-B0B0-11191357E048}"/>
              </a:ext>
            </a:extLst>
          </p:cNvPr>
          <p:cNvSpPr/>
          <p:nvPr/>
        </p:nvSpPr>
        <p:spPr>
          <a:xfrm>
            <a:off x="3823149" y="3596413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2,4 %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015EA98C-D5E7-4661-9494-CDAF133E630C}"/>
              </a:ext>
            </a:extLst>
          </p:cNvPr>
          <p:cNvSpPr/>
          <p:nvPr/>
        </p:nvSpPr>
        <p:spPr>
          <a:xfrm>
            <a:off x="4083795" y="3387043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30,7 %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375A5F80-9894-4388-8026-F78045B481C2}"/>
              </a:ext>
            </a:extLst>
          </p:cNvPr>
          <p:cNvSpPr txBox="1"/>
          <p:nvPr/>
        </p:nvSpPr>
        <p:spPr>
          <a:xfrm>
            <a:off x="2162175" y="6581244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F285CACA-DC1B-4F7F-89E6-6C430EDE93F2}"/>
              </a:ext>
            </a:extLst>
          </p:cNvPr>
          <p:cNvSpPr/>
          <p:nvPr/>
        </p:nvSpPr>
        <p:spPr>
          <a:xfrm>
            <a:off x="4344441" y="2915508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55,1 %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BDB32579-BA3A-4265-A1C4-16862A0C93F1}"/>
              </a:ext>
            </a:extLst>
          </p:cNvPr>
          <p:cNvSpPr/>
          <p:nvPr/>
        </p:nvSpPr>
        <p:spPr>
          <a:xfrm>
            <a:off x="4133939" y="690978"/>
            <a:ext cx="2135336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0. 11. 2020 návrat zbytku ZŠ, 6. – 8. třídy v rotačním režimu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7.12. návrat zbytku ročníků středních škol v rotačním režimu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4" name="Přímá spojnice se šipkou 33">
            <a:extLst>
              <a:ext uri="{FF2B5EF4-FFF2-40B4-BE49-F238E27FC236}">
                <a16:creationId xmlns:a16="http://schemas.microsoft.com/office/drawing/2014/main" id="{D8DF31AA-07DD-41F7-905A-3E40CC47D058}"/>
              </a:ext>
            </a:extLst>
          </p:cNvPr>
          <p:cNvCxnSpPr>
            <a:cxnSpLocks/>
          </p:cNvCxnSpPr>
          <p:nvPr/>
        </p:nvCxnSpPr>
        <p:spPr>
          <a:xfrm>
            <a:off x="4442866" y="1395408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76DA1051-6B0B-406D-A424-F604FD1C178C}"/>
              </a:ext>
            </a:extLst>
          </p:cNvPr>
          <p:cNvCxnSpPr>
            <a:cxnSpLocks/>
          </p:cNvCxnSpPr>
          <p:nvPr/>
        </p:nvCxnSpPr>
        <p:spPr>
          <a:xfrm flipH="1">
            <a:off x="4198587" y="1395407"/>
            <a:ext cx="1" cy="1692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se šipkou 37">
            <a:extLst>
              <a:ext uri="{FF2B5EF4-FFF2-40B4-BE49-F238E27FC236}">
                <a16:creationId xmlns:a16="http://schemas.microsoft.com/office/drawing/2014/main" id="{3EAD4DD9-2DEB-417E-A629-1B9B9C00B13F}"/>
              </a:ext>
            </a:extLst>
          </p:cNvPr>
          <p:cNvCxnSpPr>
            <a:cxnSpLocks/>
          </p:cNvCxnSpPr>
          <p:nvPr/>
        </p:nvCxnSpPr>
        <p:spPr>
          <a:xfrm>
            <a:off x="2400522" y="1286743"/>
            <a:ext cx="0" cy="612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bdélník 39">
            <a:extLst>
              <a:ext uri="{FF2B5EF4-FFF2-40B4-BE49-F238E27FC236}">
                <a16:creationId xmlns:a16="http://schemas.microsoft.com/office/drawing/2014/main" id="{95AA931B-FD01-462A-9523-C6AF06AA18CB}"/>
              </a:ext>
            </a:extLst>
          </p:cNvPr>
          <p:cNvSpPr/>
          <p:nvPr/>
        </p:nvSpPr>
        <p:spPr>
          <a:xfrm>
            <a:off x="1284157" y="750715"/>
            <a:ext cx="1370397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4. 10. 2020 uzavření všech škol (mimo mateřských)</a:t>
            </a: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032162D-2D5B-43D1-B88D-BD958389935F}"/>
              </a:ext>
            </a:extLst>
          </p:cNvPr>
          <p:cNvSpPr/>
          <p:nvPr/>
        </p:nvSpPr>
        <p:spPr>
          <a:xfrm>
            <a:off x="2636689" y="705194"/>
            <a:ext cx="1412823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8. 11. 2020 návrat 1. a 2. tříd do škol, otevření speciálních škol a přípravných tříd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869C9D99-1CA9-43B1-A6E6-FA9338386BC7}"/>
              </a:ext>
            </a:extLst>
          </p:cNvPr>
          <p:cNvCxnSpPr>
            <a:cxnSpLocks/>
          </p:cNvCxnSpPr>
          <p:nvPr/>
        </p:nvCxnSpPr>
        <p:spPr>
          <a:xfrm>
            <a:off x="3704194" y="1381155"/>
            <a:ext cx="0" cy="183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bdélník 47">
            <a:extLst>
              <a:ext uri="{FF2B5EF4-FFF2-40B4-BE49-F238E27FC236}">
                <a16:creationId xmlns:a16="http://schemas.microsoft.com/office/drawing/2014/main" id="{70D8DFAE-A75D-474A-8593-8490641CCCD0}"/>
              </a:ext>
            </a:extLst>
          </p:cNvPr>
          <p:cNvSpPr/>
          <p:nvPr/>
        </p:nvSpPr>
        <p:spPr>
          <a:xfrm>
            <a:off x="4605087" y="2582871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26,6 %</a:t>
            </a:r>
          </a:p>
        </p:txBody>
      </p:sp>
      <p:sp>
        <p:nvSpPr>
          <p:cNvPr id="50" name="Obdélník 49">
            <a:extLst>
              <a:ext uri="{FF2B5EF4-FFF2-40B4-BE49-F238E27FC236}">
                <a16:creationId xmlns:a16="http://schemas.microsoft.com/office/drawing/2014/main" id="{E0BADEA8-BA57-4348-8496-837F57BF3D75}"/>
              </a:ext>
            </a:extLst>
          </p:cNvPr>
          <p:cNvSpPr/>
          <p:nvPr/>
        </p:nvSpPr>
        <p:spPr>
          <a:xfrm>
            <a:off x="4865733" y="2845099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6,6 %</a:t>
            </a:r>
          </a:p>
        </p:txBody>
      </p:sp>
      <p:sp>
        <p:nvSpPr>
          <p:cNvPr id="52" name="Obdélník 51">
            <a:extLst>
              <a:ext uri="{FF2B5EF4-FFF2-40B4-BE49-F238E27FC236}">
                <a16:creationId xmlns:a16="http://schemas.microsoft.com/office/drawing/2014/main" id="{0C8CE6F5-9CC6-498E-91FB-576D93A4D94C}"/>
              </a:ext>
            </a:extLst>
          </p:cNvPr>
          <p:cNvSpPr/>
          <p:nvPr/>
        </p:nvSpPr>
        <p:spPr>
          <a:xfrm>
            <a:off x="7472193" y="232007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0,9 %</a:t>
            </a:r>
          </a:p>
        </p:txBody>
      </p:sp>
      <p:sp>
        <p:nvSpPr>
          <p:cNvPr id="54" name="Obdélník 53">
            <a:extLst>
              <a:ext uri="{FF2B5EF4-FFF2-40B4-BE49-F238E27FC236}">
                <a16:creationId xmlns:a16="http://schemas.microsoft.com/office/drawing/2014/main" id="{39235DEA-3896-46EB-A34B-414D0876DFC6}"/>
              </a:ext>
            </a:extLst>
          </p:cNvPr>
          <p:cNvSpPr/>
          <p:nvPr/>
        </p:nvSpPr>
        <p:spPr>
          <a:xfrm>
            <a:off x="4913811" y="1405923"/>
            <a:ext cx="1412376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 12. 2020 vánoční školní prázdniny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bdélník 57">
            <a:extLst>
              <a:ext uri="{FF2B5EF4-FFF2-40B4-BE49-F238E27FC236}">
                <a16:creationId xmlns:a16="http://schemas.microsoft.com/office/drawing/2014/main" id="{8C81454E-32E1-4051-B6E7-8ED1C357978A}"/>
              </a:ext>
            </a:extLst>
          </p:cNvPr>
          <p:cNvSpPr/>
          <p:nvPr/>
        </p:nvSpPr>
        <p:spPr>
          <a:xfrm>
            <a:off x="5126379" y="2437916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29,0 %</a:t>
            </a:r>
          </a:p>
        </p:txBody>
      </p:sp>
      <p:sp>
        <p:nvSpPr>
          <p:cNvPr id="60" name="Obdélník 59">
            <a:extLst>
              <a:ext uri="{FF2B5EF4-FFF2-40B4-BE49-F238E27FC236}">
                <a16:creationId xmlns:a16="http://schemas.microsoft.com/office/drawing/2014/main" id="{FE5B4EB7-44E0-4EE9-9F73-BA385A34DD43}"/>
              </a:ext>
            </a:extLst>
          </p:cNvPr>
          <p:cNvSpPr/>
          <p:nvPr/>
        </p:nvSpPr>
        <p:spPr>
          <a:xfrm>
            <a:off x="5387025" y="1991057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24,4 %</a:t>
            </a:r>
          </a:p>
        </p:txBody>
      </p:sp>
      <p:sp>
        <p:nvSpPr>
          <p:cNvPr id="61" name="Obdélník 60">
            <a:extLst>
              <a:ext uri="{FF2B5EF4-FFF2-40B4-BE49-F238E27FC236}">
                <a16:creationId xmlns:a16="http://schemas.microsoft.com/office/drawing/2014/main" id="{11C05CDE-BE40-4A97-8029-61063908FC2F}"/>
              </a:ext>
            </a:extLst>
          </p:cNvPr>
          <p:cNvSpPr/>
          <p:nvPr/>
        </p:nvSpPr>
        <p:spPr>
          <a:xfrm>
            <a:off x="6168963" y="2884842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1,7 %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6887A429-A1D6-4039-8D58-5196247FADBC}"/>
              </a:ext>
            </a:extLst>
          </p:cNvPr>
          <p:cNvSpPr/>
          <p:nvPr/>
        </p:nvSpPr>
        <p:spPr>
          <a:xfrm>
            <a:off x="10836701" y="4705898"/>
            <a:ext cx="243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Obdélník 66">
            <a:extLst>
              <a:ext uri="{FF2B5EF4-FFF2-40B4-BE49-F238E27FC236}">
                <a16:creationId xmlns:a16="http://schemas.microsoft.com/office/drawing/2014/main" id="{FD66BA2F-CDE8-400D-9D1C-887D35AF4E37}"/>
              </a:ext>
            </a:extLst>
          </p:cNvPr>
          <p:cNvSpPr/>
          <p:nvPr/>
        </p:nvSpPr>
        <p:spPr>
          <a:xfrm>
            <a:off x="11189915" y="4384312"/>
            <a:ext cx="10020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dběžné údaje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Obdélník 68">
            <a:extLst>
              <a:ext uri="{FF2B5EF4-FFF2-40B4-BE49-F238E27FC236}">
                <a16:creationId xmlns:a16="http://schemas.microsoft.com/office/drawing/2014/main" id="{FFC4AF65-0258-4952-A1EB-EF94DB8426A2}"/>
              </a:ext>
            </a:extLst>
          </p:cNvPr>
          <p:cNvSpPr/>
          <p:nvPr/>
        </p:nvSpPr>
        <p:spPr>
          <a:xfrm>
            <a:off x="6429609" y="2812294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2,1 %</a:t>
            </a:r>
          </a:p>
        </p:txBody>
      </p:sp>
      <p:sp>
        <p:nvSpPr>
          <p:cNvPr id="71" name="Obdélník 70">
            <a:extLst>
              <a:ext uri="{FF2B5EF4-FFF2-40B4-BE49-F238E27FC236}">
                <a16:creationId xmlns:a16="http://schemas.microsoft.com/office/drawing/2014/main" id="{31A4CDE4-810F-47E7-BE11-D1B664BE8A44}"/>
              </a:ext>
            </a:extLst>
          </p:cNvPr>
          <p:cNvSpPr/>
          <p:nvPr/>
        </p:nvSpPr>
        <p:spPr>
          <a:xfrm>
            <a:off x="5908317" y="2931880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5,8 %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33873B3B-9943-4105-82E8-46D146F31487}"/>
              </a:ext>
            </a:extLst>
          </p:cNvPr>
          <p:cNvSpPr/>
          <p:nvPr/>
        </p:nvSpPr>
        <p:spPr>
          <a:xfrm>
            <a:off x="6690255" y="2695499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7,7 %</a:t>
            </a:r>
          </a:p>
        </p:txBody>
      </p:sp>
      <p:sp>
        <p:nvSpPr>
          <p:cNvPr id="73" name="Obdélník 72">
            <a:extLst>
              <a:ext uri="{FF2B5EF4-FFF2-40B4-BE49-F238E27FC236}">
                <a16:creationId xmlns:a16="http://schemas.microsoft.com/office/drawing/2014/main" id="{54F44EDA-E48E-4868-9D1E-26C5085A1DA8}"/>
              </a:ext>
            </a:extLst>
          </p:cNvPr>
          <p:cNvSpPr/>
          <p:nvPr/>
        </p:nvSpPr>
        <p:spPr>
          <a:xfrm>
            <a:off x="6950901" y="2355526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26,5 %</a:t>
            </a:r>
          </a:p>
        </p:txBody>
      </p:sp>
      <p:sp>
        <p:nvSpPr>
          <p:cNvPr id="62" name="Obdélník 61">
            <a:extLst>
              <a:ext uri="{FF2B5EF4-FFF2-40B4-BE49-F238E27FC236}">
                <a16:creationId xmlns:a16="http://schemas.microsoft.com/office/drawing/2014/main" id="{3EC376A9-4AC0-4D88-99BE-D04ED338DB1F}"/>
              </a:ext>
            </a:extLst>
          </p:cNvPr>
          <p:cNvSpPr/>
          <p:nvPr/>
        </p:nvSpPr>
        <p:spPr>
          <a:xfrm>
            <a:off x="7211547" y="2076356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14,3 %</a:t>
            </a:r>
          </a:p>
        </p:txBody>
      </p:sp>
      <p:sp>
        <p:nvSpPr>
          <p:cNvPr id="72" name="Obdélník 71">
            <a:extLst>
              <a:ext uri="{FF2B5EF4-FFF2-40B4-BE49-F238E27FC236}">
                <a16:creationId xmlns:a16="http://schemas.microsoft.com/office/drawing/2014/main" id="{407AE30A-0CB5-4C70-8CBA-BD2E67DDD6DE}"/>
              </a:ext>
            </a:extLst>
          </p:cNvPr>
          <p:cNvSpPr/>
          <p:nvPr/>
        </p:nvSpPr>
        <p:spPr>
          <a:xfrm>
            <a:off x="5647671" y="2689147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28,7 %</a:t>
            </a:r>
          </a:p>
        </p:txBody>
      </p:sp>
      <p:cxnSp>
        <p:nvCxnSpPr>
          <p:cNvPr id="74" name="Přímá spojnice se šipkou 73">
            <a:extLst>
              <a:ext uri="{FF2B5EF4-FFF2-40B4-BE49-F238E27FC236}">
                <a16:creationId xmlns:a16="http://schemas.microsoft.com/office/drawing/2014/main" id="{993EC90E-7FD8-407D-9D17-370132E75EC1}"/>
              </a:ext>
            </a:extLst>
          </p:cNvPr>
          <p:cNvCxnSpPr>
            <a:cxnSpLocks/>
          </p:cNvCxnSpPr>
          <p:nvPr/>
        </p:nvCxnSpPr>
        <p:spPr>
          <a:xfrm>
            <a:off x="4985475" y="1627975"/>
            <a:ext cx="0" cy="972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Přímá spojnice se šipkou 74">
            <a:extLst>
              <a:ext uri="{FF2B5EF4-FFF2-40B4-BE49-F238E27FC236}">
                <a16:creationId xmlns:a16="http://schemas.microsoft.com/office/drawing/2014/main" id="{66F27176-5C97-4512-B1F8-3124BDEB9E90}"/>
              </a:ext>
            </a:extLst>
          </p:cNvPr>
          <p:cNvCxnSpPr>
            <a:cxnSpLocks/>
          </p:cNvCxnSpPr>
          <p:nvPr/>
        </p:nvCxnSpPr>
        <p:spPr>
          <a:xfrm>
            <a:off x="7556617" y="1412546"/>
            <a:ext cx="0" cy="64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bdélník 75">
            <a:extLst>
              <a:ext uri="{FF2B5EF4-FFF2-40B4-BE49-F238E27FC236}">
                <a16:creationId xmlns:a16="http://schemas.microsoft.com/office/drawing/2014/main" id="{4D29521C-37DA-4C9D-904F-817BE61D47CB}"/>
              </a:ext>
            </a:extLst>
          </p:cNvPr>
          <p:cNvSpPr/>
          <p:nvPr/>
        </p:nvSpPr>
        <p:spPr>
          <a:xfrm>
            <a:off x="7140783" y="1045286"/>
            <a:ext cx="17115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46" name="Obdélník 45">
            <a:extLst>
              <a:ext uri="{FF2B5EF4-FFF2-40B4-BE49-F238E27FC236}">
                <a16:creationId xmlns:a16="http://schemas.microsoft.com/office/drawing/2014/main" id="{A8455353-19DD-4AC2-9325-5E85BAF5BB5B}"/>
              </a:ext>
            </a:extLst>
          </p:cNvPr>
          <p:cNvSpPr/>
          <p:nvPr/>
        </p:nvSpPr>
        <p:spPr>
          <a:xfrm>
            <a:off x="7732839" y="290331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29,7 %</a:t>
            </a:r>
          </a:p>
        </p:txBody>
      </p:sp>
      <p:sp>
        <p:nvSpPr>
          <p:cNvPr id="47" name="Obdélník 46">
            <a:extLst>
              <a:ext uri="{FF2B5EF4-FFF2-40B4-BE49-F238E27FC236}">
                <a16:creationId xmlns:a16="http://schemas.microsoft.com/office/drawing/2014/main" id="{9C8E768C-CEBA-42FB-8F30-26DE2EA56452}"/>
              </a:ext>
            </a:extLst>
          </p:cNvPr>
          <p:cNvSpPr/>
          <p:nvPr/>
        </p:nvSpPr>
        <p:spPr>
          <a:xfrm>
            <a:off x="7993485" y="3234473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23,2 %</a:t>
            </a: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C90101AB-5A7A-4CE8-9507-4EA012F8FE8C}"/>
              </a:ext>
            </a:extLst>
          </p:cNvPr>
          <p:cNvSpPr/>
          <p:nvPr/>
        </p:nvSpPr>
        <p:spPr>
          <a:xfrm>
            <a:off x="8254131" y="3558323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31,2 %</a:t>
            </a: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3F7D762C-F623-4E36-82F1-CE3D5541EFF5}"/>
              </a:ext>
            </a:extLst>
          </p:cNvPr>
          <p:cNvSpPr/>
          <p:nvPr/>
        </p:nvSpPr>
        <p:spPr>
          <a:xfrm>
            <a:off x="8514777" y="3778112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31,9 %</a:t>
            </a:r>
          </a:p>
        </p:txBody>
      </p:sp>
      <p:sp>
        <p:nvSpPr>
          <p:cNvPr id="53" name="Obdélník 52">
            <a:extLst>
              <a:ext uri="{FF2B5EF4-FFF2-40B4-BE49-F238E27FC236}">
                <a16:creationId xmlns:a16="http://schemas.microsoft.com/office/drawing/2014/main" id="{3B5F721F-E312-4B9F-BD46-20AD44D95960}"/>
              </a:ext>
            </a:extLst>
          </p:cNvPr>
          <p:cNvSpPr/>
          <p:nvPr/>
        </p:nvSpPr>
        <p:spPr>
          <a:xfrm>
            <a:off x="8775423" y="3862144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6,3 %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675372F7-9671-4E26-9F98-607A9DD37B65}"/>
              </a:ext>
            </a:extLst>
          </p:cNvPr>
          <p:cNvSpPr/>
          <p:nvPr/>
        </p:nvSpPr>
        <p:spPr>
          <a:xfrm>
            <a:off x="9036069" y="3988906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31,9 %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6DC1B228-EFD7-4BA8-A838-0EB042907F91}"/>
              </a:ext>
            </a:extLst>
          </p:cNvPr>
          <p:cNvCxnSpPr>
            <a:cxnSpLocks/>
          </p:cNvCxnSpPr>
          <p:nvPr/>
        </p:nvCxnSpPr>
        <p:spPr>
          <a:xfrm>
            <a:off x="9140008" y="1732750"/>
            <a:ext cx="0" cy="2124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bdélník 58">
            <a:extLst>
              <a:ext uri="{FF2B5EF4-FFF2-40B4-BE49-F238E27FC236}">
                <a16:creationId xmlns:a16="http://schemas.microsoft.com/office/drawing/2014/main" id="{D734875B-FAE4-4A03-865E-03E8DD9CFD98}"/>
              </a:ext>
            </a:extLst>
          </p:cNvPr>
          <p:cNvSpPr/>
          <p:nvPr/>
        </p:nvSpPr>
        <p:spPr>
          <a:xfrm>
            <a:off x="9296715" y="4052909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4,5 %</a:t>
            </a:r>
          </a:p>
        </p:txBody>
      </p:sp>
      <p:sp>
        <p:nvSpPr>
          <p:cNvPr id="63" name="Obdélník 62">
            <a:extLst>
              <a:ext uri="{FF2B5EF4-FFF2-40B4-BE49-F238E27FC236}">
                <a16:creationId xmlns:a16="http://schemas.microsoft.com/office/drawing/2014/main" id="{07D93610-C681-463C-B48E-3BE00577FB26}"/>
              </a:ext>
            </a:extLst>
          </p:cNvPr>
          <p:cNvSpPr/>
          <p:nvPr/>
        </p:nvSpPr>
        <p:spPr>
          <a:xfrm>
            <a:off x="9557361" y="411397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28,1 %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AB3FE291-2498-426E-8E8E-9D4CC630B185}"/>
              </a:ext>
            </a:extLst>
          </p:cNvPr>
          <p:cNvSpPr/>
          <p:nvPr/>
        </p:nvSpPr>
        <p:spPr>
          <a:xfrm>
            <a:off x="9818007" y="418091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30,5 %</a:t>
            </a: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49300486-23B1-4602-8F02-9592BE868249}"/>
              </a:ext>
            </a:extLst>
          </p:cNvPr>
          <p:cNvSpPr/>
          <p:nvPr/>
        </p:nvSpPr>
        <p:spPr>
          <a:xfrm>
            <a:off x="10078653" y="4188035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25,5 %</a:t>
            </a:r>
          </a:p>
        </p:txBody>
      </p:sp>
      <p:sp>
        <p:nvSpPr>
          <p:cNvPr id="70" name="Obdélník 69">
            <a:extLst>
              <a:ext uri="{FF2B5EF4-FFF2-40B4-BE49-F238E27FC236}">
                <a16:creationId xmlns:a16="http://schemas.microsoft.com/office/drawing/2014/main" id="{13CA0285-9D4A-4427-B3C2-28F5462981BA}"/>
              </a:ext>
            </a:extLst>
          </p:cNvPr>
          <p:cNvSpPr/>
          <p:nvPr/>
        </p:nvSpPr>
        <p:spPr>
          <a:xfrm>
            <a:off x="10339299" y="4220794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33,3 %</a:t>
            </a:r>
          </a:p>
        </p:txBody>
      </p:sp>
      <p:sp>
        <p:nvSpPr>
          <p:cNvPr id="77" name="Obdélník 76">
            <a:extLst>
              <a:ext uri="{FF2B5EF4-FFF2-40B4-BE49-F238E27FC236}">
                <a16:creationId xmlns:a16="http://schemas.microsoft.com/office/drawing/2014/main" id="{F4ECAE10-CC29-46B6-A173-6E2FC3852161}"/>
              </a:ext>
            </a:extLst>
          </p:cNvPr>
          <p:cNvSpPr/>
          <p:nvPr/>
        </p:nvSpPr>
        <p:spPr>
          <a:xfrm>
            <a:off x="8919798" y="1311962"/>
            <a:ext cx="1765142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2. 4. obnovení prezenční výuky v nižších ročnících ZŠ, rotační režimy </a:t>
            </a:r>
          </a:p>
        </p:txBody>
      </p:sp>
      <p:sp>
        <p:nvSpPr>
          <p:cNvPr id="57" name="Obdélník 56">
            <a:extLst>
              <a:ext uri="{FF2B5EF4-FFF2-40B4-BE49-F238E27FC236}">
                <a16:creationId xmlns:a16="http://schemas.microsoft.com/office/drawing/2014/main" id="{14A1CEC4-E4E7-4EC4-BB8B-A6E39DC718AF}"/>
              </a:ext>
            </a:extLst>
          </p:cNvPr>
          <p:cNvSpPr/>
          <p:nvPr/>
        </p:nvSpPr>
        <p:spPr>
          <a:xfrm>
            <a:off x="10599945" y="4258894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18,6 %</a:t>
            </a:r>
          </a:p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7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8" name="Obdélník 77">
            <a:extLst>
              <a:ext uri="{FF2B5EF4-FFF2-40B4-BE49-F238E27FC236}">
                <a16:creationId xmlns:a16="http://schemas.microsoft.com/office/drawing/2014/main" id="{9A6469B5-F5B8-4E2E-A6BF-5A57F54DE460}"/>
              </a:ext>
            </a:extLst>
          </p:cNvPr>
          <p:cNvSpPr/>
          <p:nvPr/>
        </p:nvSpPr>
        <p:spPr>
          <a:xfrm>
            <a:off x="10898690" y="4268419"/>
            <a:ext cx="324000" cy="144000"/>
          </a:xfrm>
          <a:prstGeom prst="rect">
            <a:avLst/>
          </a:prstGeom>
        </p:spPr>
        <p:txBody>
          <a:bodyPr wrap="none" lIns="36000" tIns="0" rIns="36000" bIns="0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64,9 %</a:t>
            </a:r>
          </a:p>
        </p:txBody>
      </p:sp>
    </p:spTree>
    <p:extLst>
      <p:ext uri="{BB962C8B-B14F-4D97-AF65-F5344CB8AC3E}">
        <p14:creationId xmlns:p14="http://schemas.microsoft.com/office/powerpoint/2010/main" val="7223245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992" y="2"/>
            <a:ext cx="7864952" cy="576000"/>
          </a:xfrm>
        </p:spPr>
        <p:txBody>
          <a:bodyPr/>
          <a:lstStyle/>
          <a:p>
            <a:r>
              <a:rPr lang="cs-CZ" dirty="0"/>
              <a:t>COVID-19 pozitivní pedagogové a další pracovníci ve školství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>
            <p:extLst/>
          </p:nvPr>
        </p:nvGraphicFramePr>
        <p:xfrm>
          <a:off x="506227" y="1010971"/>
          <a:ext cx="8332973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242780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cxnSp>
        <p:nvCxnSpPr>
          <p:cNvPr id="12" name="Straight Connector 4">
            <a:extLst>
              <a:ext uri="{FF2B5EF4-FFF2-40B4-BE49-F238E27FC236}">
                <a16:creationId xmlns:a16="http://schemas.microsoft.com/office/drawing/2014/main" id="{61A60986-249F-4FD7-AAA7-8BD13B1D7992}"/>
              </a:ext>
            </a:extLst>
          </p:cNvPr>
          <p:cNvCxnSpPr/>
          <p:nvPr/>
        </p:nvCxnSpPr>
        <p:spPr>
          <a:xfrm>
            <a:off x="6112425" y="1359733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">
            <a:extLst>
              <a:ext uri="{FF2B5EF4-FFF2-40B4-BE49-F238E27FC236}">
                <a16:creationId xmlns:a16="http://schemas.microsoft.com/office/drawing/2014/main" id="{6D3E0B94-D581-4819-B5C9-9EB381E068C1}"/>
              </a:ext>
            </a:extLst>
          </p:cNvPr>
          <p:cNvSpPr txBox="1"/>
          <p:nvPr/>
        </p:nvSpPr>
        <p:spPr>
          <a:xfrm>
            <a:off x="6443353" y="119969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0B700C9-AB6F-43A8-943E-F86E2165D75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180945" y="1157569"/>
          <a:ext cx="2812606" cy="5079996"/>
        </p:xfrm>
        <a:graphic>
          <a:graphicData uri="http://schemas.openxmlformats.org/drawingml/2006/table">
            <a:tbl>
              <a:tblPr/>
              <a:tblGrid>
                <a:gridCol w="1675440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137166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571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nní průměr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31.5.–4.6.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BB0A6EDE-757B-4DE1-A81A-313345F9B0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potvrzených případů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4. 6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07631578-4AE3-4DB1-A29A-EF5EA70F9592}"/>
              </a:ext>
            </a:extLst>
          </p:cNvPr>
          <p:cNvCxnSpPr>
            <a:cxnSpLocks/>
          </p:cNvCxnSpPr>
          <p:nvPr/>
        </p:nvCxnSpPr>
        <p:spPr>
          <a:xfrm>
            <a:off x="6032374" y="2009132"/>
            <a:ext cx="0" cy="504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650BA97D-9595-4582-8CFE-0410DF2619F0}"/>
              </a:ext>
            </a:extLst>
          </p:cNvPr>
          <p:cNvSpPr/>
          <p:nvPr/>
        </p:nvSpPr>
        <p:spPr>
          <a:xfrm>
            <a:off x="5816833" y="1701355"/>
            <a:ext cx="1453336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vakcinace pracovníků ve školství</a:t>
            </a:r>
          </a:p>
        </p:txBody>
      </p:sp>
    </p:spTree>
    <p:extLst>
      <p:ext uri="{BB962C8B-B14F-4D97-AF65-F5344CB8AC3E}">
        <p14:creationId xmlns:p14="http://schemas.microsoft.com/office/powerpoint/2010/main" val="443322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  <a:endParaRPr kumimoji="0" lang="cs-CZ" sz="2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6216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77932" y="2834929"/>
            <a:ext cx="119538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ĚKUJI ZA POZORNOST </a:t>
            </a:r>
            <a:endParaRPr kumimoji="0" lang="cs-CZ" sz="6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274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3666AA6-121E-4611-A046-B6B1FA72FBC6}"/>
              </a:ext>
            </a:extLst>
          </p:cNvPr>
          <p:cNvSpPr/>
          <p:nvPr/>
        </p:nvSpPr>
        <p:spPr>
          <a:xfrm>
            <a:off x="75501" y="613655"/>
            <a:ext cx="99508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záchytů kalkulovaný z denního počtu testů: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285465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B11D7F4D-43EA-4358-936F-EC88DC464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36134"/>
              </p:ext>
            </p:extLst>
          </p:nvPr>
        </p:nvGraphicFramePr>
        <p:xfrm>
          <a:off x="1403900" y="92143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304855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307194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3666AA6-121E-4611-A046-B6B1FA72FBC6}"/>
              </a:ext>
            </a:extLst>
          </p:cNvPr>
          <p:cNvSpPr/>
          <p:nvPr/>
        </p:nvSpPr>
        <p:spPr>
          <a:xfrm>
            <a:off x="75501" y="613655"/>
            <a:ext cx="99508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záchytů kalkulovaný z denního počtu testů: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729240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09B179D6-B44B-4E3D-A125-E12B0031C7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1183636"/>
              </p:ext>
            </p:extLst>
          </p:nvPr>
        </p:nvGraphicFramePr>
        <p:xfrm>
          <a:off x="1403900" y="92143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304855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4180938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ubnu a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větnu se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vývoji epidemie neprojevilo, situace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stabilní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ůsledku postupující vakcinac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ze očekáva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e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ě potvrzených případů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e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ále významně klesat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éměř všech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ů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le setrvale klesá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vněž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lší období lze očekávat pokles, který bude dále umocňován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ujícím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8" y="552397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282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4B2B1AD2-1C3C-418E-A039-93185195C9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752" y="1528222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864181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1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7875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1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1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47</Words>
  <Application>Microsoft Office PowerPoint</Application>
  <PresentationFormat>Širokoúhlá obrazovka</PresentationFormat>
  <Paragraphs>988</Paragraphs>
  <Slides>40</Slides>
  <Notes>1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1</vt:i4>
      </vt:variant>
      <vt:variant>
        <vt:lpstr>Nadpisy snímků</vt:lpstr>
      </vt:variant>
      <vt:variant>
        <vt:i4>40</vt:i4>
      </vt:variant>
    </vt:vector>
  </HeadingPairs>
  <TitlesOfParts>
    <vt:vector size="58" baseType="lpstr">
      <vt:lpstr>Arial</vt:lpstr>
      <vt:lpstr>Arial (Základní text)</vt:lpstr>
      <vt:lpstr>Arial Black</vt:lpstr>
      <vt:lpstr>Calibri</vt:lpstr>
      <vt:lpstr>Calibri Light</vt:lpstr>
      <vt:lpstr>Times New Roman</vt:lpstr>
      <vt:lpstr>Wingdings</vt:lpstr>
      <vt:lpstr>Motiv Office</vt:lpstr>
      <vt:lpstr>1_Motiv systému Office</vt:lpstr>
      <vt:lpstr>1_Motiv Office</vt:lpstr>
      <vt:lpstr>3_Motiv Office</vt:lpstr>
      <vt:lpstr>2_Motiv Office</vt:lpstr>
      <vt:lpstr>6_Motiv Office</vt:lpstr>
      <vt:lpstr>7_Motiv Office</vt:lpstr>
      <vt:lpstr>12_Motiv Office</vt:lpstr>
      <vt:lpstr>8_Motiv Office</vt:lpstr>
      <vt:lpstr>9_Motiv Office</vt:lpstr>
      <vt:lpstr>4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Podíl pozitivních testů: diagnostické indikace </vt:lpstr>
      <vt:lpstr>Podíl pozitivních testů: epidemiologické indikace</vt:lpstr>
      <vt:lpstr>Prezentace aplikace PowerPoint</vt:lpstr>
      <vt:lpstr>Prezentace aplikace PowerPoint</vt:lpstr>
      <vt:lpstr>Modelové scénáře: 7denní hodnoty na 100 tisíc obyvatel</vt:lpstr>
      <vt:lpstr>Datová a informační základna  pro management pandemie COVID-19</vt:lpstr>
      <vt:lpstr>Stav očkování obyvatel v ČR k 7. 6. 2021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7 denní počet nových případů (na 100 000 obyv.) v ORP</vt:lpstr>
      <vt:lpstr>Zátěž regionů ve vzájemném srovnání krajů k 9.6.</vt:lpstr>
      <vt:lpstr>Přehled okresů s poteniálně rizikovými epidemickými hodnotami</vt:lpstr>
      <vt:lpstr>Nákaza COVID-19 u dětí – testy ze škol a individuální záznamy</vt:lpstr>
      <vt:lpstr>Počty COVID-19 pozitivních dětí na 100 000 v populaci v čase</vt:lpstr>
      <vt:lpstr>Ohlédnutí zpět: literatura </vt:lpstr>
      <vt:lpstr>Vybrané argumenty shrnuté z literatury</vt:lpstr>
      <vt:lpstr>Nákaza dětí v nejvíce zatížených krajích: Q1/2021 </vt:lpstr>
      <vt:lpstr>14denní incidence dětí 3–10 let na 100 tis. dětí 3–10 let</vt:lpstr>
      <vt:lpstr>Počet pozitivních kontaktů v roce 2021 u pozitivních do 19 let</vt:lpstr>
      <vt:lpstr>Pozitivní děti 5-11 let na adresních místech</vt:lpstr>
      <vt:lpstr>Nákaza COVID-19 u dětí – testy ze škol a individuální záznamy</vt:lpstr>
      <vt:lpstr>Prezentace aplikace PowerPoint</vt:lpstr>
      <vt:lpstr>Prezentace aplikace PowerPoint</vt:lpstr>
      <vt:lpstr>Výsledky testů u dětí 5-15 let mezi 12.4 – 7.6.2021</vt:lpstr>
      <vt:lpstr>Testy hlášení ze škol – průběžné výsledky</vt:lpstr>
      <vt:lpstr>Počty nově COVID-19 pozitivních na 100 testů u dětí v čase</vt:lpstr>
      <vt:lpstr>Nové případy za 7 dní na 100 000 obyvatel: srovnání krajů k 8.6.: 5–11 let</vt:lpstr>
      <vt:lpstr>Nové případy za 7 dní na 100 000 obyvatel: srovnání krajů k 8.6.: 12–19 let</vt:lpstr>
      <vt:lpstr>Identifikovaná ohniska  ve školských zařízeních</vt:lpstr>
      <vt:lpstr>Školská zařízení jako ohniska COVID-19: vývoj v čase</vt:lpstr>
      <vt:lpstr>Počty nově COVID pozitivních pedagogů a pracovníků ve školství</vt:lpstr>
      <vt:lpstr>COVID-19 pozitivní pedagogové a další pracovníci ve školství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4T08:39:59Z</dcterms:created>
  <dcterms:modified xsi:type="dcterms:W3CDTF">2021-06-09T13:45:57Z</dcterms:modified>
</cp:coreProperties>
</file>